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0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5"/>
    <p:sldMasterId id="2147483706" r:id="rId6"/>
    <p:sldMasterId id="2147483709" r:id="rId7"/>
    <p:sldMasterId id="2147483660" r:id="rId8"/>
  </p:sldMasterIdLst>
  <p:notesMasterIdLst>
    <p:notesMasterId r:id="rId16"/>
  </p:notesMasterIdLst>
  <p:sldIdLst>
    <p:sldId id="273" r:id="rId9"/>
    <p:sldId id="422" r:id="rId10"/>
    <p:sldId id="423" r:id="rId11"/>
    <p:sldId id="371" r:id="rId12"/>
    <p:sldId id="374" r:id="rId13"/>
    <p:sldId id="375" r:id="rId14"/>
    <p:sldId id="376" r:id="rId15"/>
  </p:sldIdLst>
  <p:sldSz cx="24382413" cy="13716000"/>
  <p:notesSz cx="6799263" cy="9929813"/>
  <p:custDataLst>
    <p:tags r:id="rId17"/>
  </p:custDataLst>
  <p:defaultTextStyle>
    <a:defPPr>
      <a:defRPr lang="en-US"/>
    </a:defPPr>
    <a:lvl1pPr marL="0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97" userDrawn="1">
          <p15:clr>
            <a:srgbClr val="A4A3A4"/>
          </p15:clr>
        </p15:guide>
        <p15:guide id="2" pos="76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56B"/>
    <a:srgbClr val="FFFFFF"/>
    <a:srgbClr val="F7A1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351FDA-2FCA-837B-D3EF-92A8AC0BDBBE}" v="3" dt="2024-10-03T04:52:45.7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533" autoAdjust="0"/>
    <p:restoredTop sz="96400"/>
  </p:normalViewPr>
  <p:slideViewPr>
    <p:cSldViewPr snapToGrid="0" showGuides="1">
      <p:cViewPr varScale="1">
        <p:scale>
          <a:sx n="58" d="100"/>
          <a:sy n="58" d="100"/>
        </p:scale>
        <p:origin x="114" y="78"/>
      </p:cViewPr>
      <p:guideLst>
        <p:guide orient="horz" pos="4297"/>
        <p:guide pos="76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129" d="100"/>
          <a:sy n="129" d="100"/>
        </p:scale>
        <p:origin x="2936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 Henneveld" userId="S::nico.henneveld@parliament.govt.nz::f6812f7d-0732-46a3-9b36-eb1ac3f3f83b" providerId="AD" clId="Web-{E3351FDA-2FCA-837B-D3EF-92A8AC0BDBBE}"/>
    <pc:docChg chg="addSld delSld sldOrd addMainMaster modMainMaster">
      <pc:chgData name="Nico Henneveld" userId="S::nico.henneveld@parliament.govt.nz::f6812f7d-0732-46a3-9b36-eb1ac3f3f83b" providerId="AD" clId="Web-{E3351FDA-2FCA-837B-D3EF-92A8AC0BDBBE}" dt="2024-10-03T04:52:45.778" v="3"/>
      <pc:docMkLst>
        <pc:docMk/>
      </pc:docMkLst>
      <pc:sldChg chg="add del ord">
        <pc:chgData name="Nico Henneveld" userId="S::nico.henneveld@parliament.govt.nz::f6812f7d-0732-46a3-9b36-eb1ac3f3f83b" providerId="AD" clId="Web-{E3351FDA-2FCA-837B-D3EF-92A8AC0BDBBE}" dt="2024-10-03T04:52:45.778" v="3"/>
        <pc:sldMkLst>
          <pc:docMk/>
          <pc:sldMk cId="2954700731" sldId="273"/>
        </pc:sldMkLst>
      </pc:sldChg>
      <pc:sldMasterChg chg="add addSldLayout">
        <pc:chgData name="Nico Henneveld" userId="S::nico.henneveld@parliament.govt.nz::f6812f7d-0732-46a3-9b36-eb1ac3f3f83b" providerId="AD" clId="Web-{E3351FDA-2FCA-837B-D3EF-92A8AC0BDBBE}" dt="2024-10-03T04:52:41.747" v="2"/>
        <pc:sldMasterMkLst>
          <pc:docMk/>
          <pc:sldMasterMk cId="4138238389" sldId="2147483660"/>
        </pc:sldMasterMkLst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1031136" sldId="2147483661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872417951" sldId="2147483662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3529088365" sldId="2147483663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3643512" sldId="2147483664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1602568284" sldId="2147483665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464499234" sldId="2147483666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2696945868" sldId="2147483667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2544690854" sldId="2147483668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2897614550" sldId="2147483669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3904369676" sldId="2147483670"/>
          </pc:sldLayoutMkLst>
        </pc:sldLayoutChg>
        <pc:sldLayoutChg chg="ad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4138238389" sldId="2147483660"/>
            <pc:sldLayoutMk cId="731508740" sldId="2147483671"/>
          </pc:sldLayoutMkLst>
        </pc:sldLayoutChg>
      </pc:sldMasterChg>
      <pc:sldMasterChg chg="addSldLayout delSldLayout modSldLayout">
        <pc:chgData name="Nico Henneveld" userId="S::nico.henneveld@parliament.govt.nz::f6812f7d-0732-46a3-9b36-eb1ac3f3f83b" providerId="AD" clId="Web-{E3351FDA-2FCA-837B-D3EF-92A8AC0BDBBE}" dt="2024-10-03T04:52:41.747" v="2"/>
        <pc:sldMasterMkLst>
          <pc:docMk/>
          <pc:sldMasterMk cId="3668292586" sldId="2147483709"/>
        </pc:sldMasterMkLst>
        <pc:sldLayoutChg chg="replI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3668292586" sldId="2147483709"/>
            <pc:sldLayoutMk cId="105632717" sldId="2147483729"/>
          </pc:sldLayoutMkLst>
        </pc:sldLayoutChg>
        <pc:sldLayoutChg chg="add del">
          <pc:chgData name="Nico Henneveld" userId="S::nico.henneveld@parliament.govt.nz::f6812f7d-0732-46a3-9b36-eb1ac3f3f83b" providerId="AD" clId="Web-{E3351FDA-2FCA-837B-D3EF-92A8AC0BDBBE}" dt="2024-10-03T04:52:40.559" v="1"/>
          <pc:sldLayoutMkLst>
            <pc:docMk/>
            <pc:sldMasterMk cId="3668292586" sldId="2147483709"/>
            <pc:sldLayoutMk cId="1195950142" sldId="2147483729"/>
          </pc:sldLayoutMkLst>
        </pc:sldLayoutChg>
        <pc:sldLayoutChg chg="replId">
          <pc:chgData name="Nico Henneveld" userId="S::nico.henneveld@parliament.govt.nz::f6812f7d-0732-46a3-9b36-eb1ac3f3f83b" providerId="AD" clId="Web-{E3351FDA-2FCA-837B-D3EF-92A8AC0BDBBE}" dt="2024-10-03T04:52:41.747" v="2"/>
          <pc:sldLayoutMkLst>
            <pc:docMk/>
            <pc:sldMasterMk cId="3668292586" sldId="2147483709"/>
            <pc:sldLayoutMk cId="1321508" sldId="2147483730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01EF54-078C-4D09-A0AA-F8334D7A7092}" type="doc">
      <dgm:prSet loTypeId="urn:microsoft.com/office/officeart/2005/8/layout/list1" loCatId="list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AU"/>
        </a:p>
      </dgm:t>
    </dgm:pt>
    <dgm:pt modelId="{967188D4-6899-4A4E-9E21-39BABF5A2E55}">
      <dgm:prSet phldrT="[Text]" custT="1"/>
      <dgm:spPr/>
      <dgm:t>
        <a:bodyPr/>
        <a:lstStyle/>
        <a:p>
          <a:r>
            <a:rPr lang="en-AU" sz="4800" b="1" dirty="0">
              <a:latin typeface="+mj-lt"/>
            </a:rPr>
            <a:t>Key Findings</a:t>
          </a:r>
        </a:p>
      </dgm:t>
    </dgm:pt>
    <dgm:pt modelId="{272BCE98-137D-4A57-A1C8-766728AFEE92}" type="parTrans" cxnId="{4A490962-A341-4FB3-8621-30A2A4A24EB1}">
      <dgm:prSet/>
      <dgm:spPr/>
      <dgm:t>
        <a:bodyPr/>
        <a:lstStyle/>
        <a:p>
          <a:endParaRPr lang="en-AU"/>
        </a:p>
      </dgm:t>
    </dgm:pt>
    <dgm:pt modelId="{1D7EB813-11ED-4604-9594-8BB51B244628}" type="sibTrans" cxnId="{4A490962-A341-4FB3-8621-30A2A4A24EB1}">
      <dgm:prSet/>
      <dgm:spPr/>
      <dgm:t>
        <a:bodyPr/>
        <a:lstStyle/>
        <a:p>
          <a:endParaRPr lang="en-AU"/>
        </a:p>
      </dgm:t>
    </dgm:pt>
    <dgm:pt modelId="{7EC793CE-C532-4A8D-BA62-8D022A6EAEFB}">
      <dgm:prSet phldrT="[Text]" custT="1"/>
      <dgm:spPr/>
      <dgm:t>
        <a:bodyPr/>
        <a:lstStyle/>
        <a:p>
          <a:r>
            <a:rPr lang="en-AU" sz="4800" b="1" dirty="0"/>
            <a:t>Recommendations for Change</a:t>
          </a:r>
        </a:p>
      </dgm:t>
    </dgm:pt>
    <dgm:pt modelId="{F9C370C2-4521-4F0B-B265-0E2FB9C2DA42}" type="parTrans" cxnId="{33DCDD63-4B83-49A7-930D-4A0CF518CAA2}">
      <dgm:prSet/>
      <dgm:spPr/>
      <dgm:t>
        <a:bodyPr/>
        <a:lstStyle/>
        <a:p>
          <a:endParaRPr lang="en-AU"/>
        </a:p>
      </dgm:t>
    </dgm:pt>
    <dgm:pt modelId="{E2CB86AD-122E-4414-9811-B6CCC131BF49}" type="sibTrans" cxnId="{33DCDD63-4B83-49A7-930D-4A0CF518CAA2}">
      <dgm:prSet/>
      <dgm:spPr/>
      <dgm:t>
        <a:bodyPr/>
        <a:lstStyle/>
        <a:p>
          <a:endParaRPr lang="en-AU"/>
        </a:p>
      </dgm:t>
    </dgm:pt>
    <dgm:pt modelId="{417F965B-1F85-43F5-AC8D-82945568F596}">
      <dgm:prSet phldrT="[Text]" custT="1"/>
      <dgm:spPr/>
      <dgm:t>
        <a:bodyPr/>
        <a:lstStyle/>
        <a:p>
          <a:r>
            <a:rPr lang="en-AU" sz="4800" b="1" dirty="0"/>
            <a:t>Actions Taken</a:t>
          </a:r>
        </a:p>
      </dgm:t>
    </dgm:pt>
    <dgm:pt modelId="{6684E208-D221-4498-BC2C-8ABBECD1CDD5}" type="parTrans" cxnId="{468A135B-B61F-4EFC-8195-8423971920E6}">
      <dgm:prSet/>
      <dgm:spPr/>
      <dgm:t>
        <a:bodyPr/>
        <a:lstStyle/>
        <a:p>
          <a:endParaRPr lang="en-AU"/>
        </a:p>
      </dgm:t>
    </dgm:pt>
    <dgm:pt modelId="{8424592A-C3F4-4370-91D5-E26311C2374A}" type="sibTrans" cxnId="{468A135B-B61F-4EFC-8195-8423971920E6}">
      <dgm:prSet/>
      <dgm:spPr/>
      <dgm:t>
        <a:bodyPr/>
        <a:lstStyle/>
        <a:p>
          <a:endParaRPr lang="en-AU"/>
        </a:p>
      </dgm:t>
    </dgm:pt>
    <dgm:pt modelId="{B2105A7A-EFB4-40C1-B9CB-A8B2738944F6}" type="pres">
      <dgm:prSet presAssocID="{C801EF54-078C-4D09-A0AA-F8334D7A7092}" presName="linear" presStyleCnt="0">
        <dgm:presLayoutVars>
          <dgm:dir/>
          <dgm:animLvl val="lvl"/>
          <dgm:resizeHandles val="exact"/>
        </dgm:presLayoutVars>
      </dgm:prSet>
      <dgm:spPr/>
    </dgm:pt>
    <dgm:pt modelId="{023E60BD-5C57-41E0-8C36-569B66C50227}" type="pres">
      <dgm:prSet presAssocID="{967188D4-6899-4A4E-9E21-39BABF5A2E55}" presName="parentLin" presStyleCnt="0"/>
      <dgm:spPr/>
    </dgm:pt>
    <dgm:pt modelId="{7E378232-ABF7-42BA-99C4-A6546EAA1247}" type="pres">
      <dgm:prSet presAssocID="{967188D4-6899-4A4E-9E21-39BABF5A2E55}" presName="parentLeftMargin" presStyleLbl="node1" presStyleIdx="0" presStyleCnt="3"/>
      <dgm:spPr/>
    </dgm:pt>
    <dgm:pt modelId="{33854A5B-436F-4336-A48D-827A6A164F47}" type="pres">
      <dgm:prSet presAssocID="{967188D4-6899-4A4E-9E21-39BABF5A2E55}" presName="parentText" presStyleLbl="node1" presStyleIdx="0" presStyleCnt="3" custScaleX="117897">
        <dgm:presLayoutVars>
          <dgm:chMax val="0"/>
          <dgm:bulletEnabled val="1"/>
        </dgm:presLayoutVars>
      </dgm:prSet>
      <dgm:spPr/>
    </dgm:pt>
    <dgm:pt modelId="{B17AC844-60D8-4FB4-94D6-B8E9FA3E23F6}" type="pres">
      <dgm:prSet presAssocID="{967188D4-6899-4A4E-9E21-39BABF5A2E55}" presName="negativeSpace" presStyleCnt="0"/>
      <dgm:spPr/>
    </dgm:pt>
    <dgm:pt modelId="{E0970BD5-675E-4C0C-91A0-64FFB2B02D0E}" type="pres">
      <dgm:prSet presAssocID="{967188D4-6899-4A4E-9E21-39BABF5A2E55}" presName="childText" presStyleLbl="conFgAcc1" presStyleIdx="0" presStyleCnt="3">
        <dgm:presLayoutVars>
          <dgm:bulletEnabled val="1"/>
        </dgm:presLayoutVars>
      </dgm:prSet>
      <dgm:spPr/>
    </dgm:pt>
    <dgm:pt modelId="{4745FB0C-E343-47D8-A37B-8F6C585F8C4C}" type="pres">
      <dgm:prSet presAssocID="{1D7EB813-11ED-4604-9594-8BB51B244628}" presName="spaceBetweenRectangles" presStyleCnt="0"/>
      <dgm:spPr/>
    </dgm:pt>
    <dgm:pt modelId="{FB087A6C-1CCD-4E66-AEAD-62505CA4F2CD}" type="pres">
      <dgm:prSet presAssocID="{7EC793CE-C532-4A8D-BA62-8D022A6EAEFB}" presName="parentLin" presStyleCnt="0"/>
      <dgm:spPr/>
    </dgm:pt>
    <dgm:pt modelId="{1ABAE3D4-A299-46DD-A6A7-ED58D2F9CDE6}" type="pres">
      <dgm:prSet presAssocID="{7EC793CE-C532-4A8D-BA62-8D022A6EAEFB}" presName="parentLeftMargin" presStyleLbl="node1" presStyleIdx="0" presStyleCnt="3"/>
      <dgm:spPr/>
    </dgm:pt>
    <dgm:pt modelId="{71BF279D-B847-48A5-900B-CA8A3660BE48}" type="pres">
      <dgm:prSet presAssocID="{7EC793CE-C532-4A8D-BA62-8D022A6EAEFB}" presName="parentText" presStyleLbl="node1" presStyleIdx="1" presStyleCnt="3" custScaleX="119208">
        <dgm:presLayoutVars>
          <dgm:chMax val="0"/>
          <dgm:bulletEnabled val="1"/>
        </dgm:presLayoutVars>
      </dgm:prSet>
      <dgm:spPr/>
    </dgm:pt>
    <dgm:pt modelId="{F5F66C89-A689-4709-9E11-7F5DE554A9E5}" type="pres">
      <dgm:prSet presAssocID="{7EC793CE-C532-4A8D-BA62-8D022A6EAEFB}" presName="negativeSpace" presStyleCnt="0"/>
      <dgm:spPr/>
    </dgm:pt>
    <dgm:pt modelId="{EE6505EC-B026-4E38-8E9C-ECF31275CDE4}" type="pres">
      <dgm:prSet presAssocID="{7EC793CE-C532-4A8D-BA62-8D022A6EAEFB}" presName="childText" presStyleLbl="conFgAcc1" presStyleIdx="1" presStyleCnt="3">
        <dgm:presLayoutVars>
          <dgm:bulletEnabled val="1"/>
        </dgm:presLayoutVars>
      </dgm:prSet>
      <dgm:spPr/>
    </dgm:pt>
    <dgm:pt modelId="{5E477ACD-6E49-42C3-8492-5BF5B4DEAAC3}" type="pres">
      <dgm:prSet presAssocID="{E2CB86AD-122E-4414-9811-B6CCC131BF49}" presName="spaceBetweenRectangles" presStyleCnt="0"/>
      <dgm:spPr/>
    </dgm:pt>
    <dgm:pt modelId="{7D917416-CF51-4890-96F3-601BEB42DDE1}" type="pres">
      <dgm:prSet presAssocID="{417F965B-1F85-43F5-AC8D-82945568F596}" presName="parentLin" presStyleCnt="0"/>
      <dgm:spPr/>
    </dgm:pt>
    <dgm:pt modelId="{7A47536E-5DA6-48C5-8E1D-B500FBD27A80}" type="pres">
      <dgm:prSet presAssocID="{417F965B-1F85-43F5-AC8D-82945568F596}" presName="parentLeftMargin" presStyleLbl="node1" presStyleIdx="1" presStyleCnt="3"/>
      <dgm:spPr/>
    </dgm:pt>
    <dgm:pt modelId="{322493C1-5A86-4408-8875-9DF6D1F9770F}" type="pres">
      <dgm:prSet presAssocID="{417F965B-1F85-43F5-AC8D-82945568F596}" presName="parentText" presStyleLbl="node1" presStyleIdx="2" presStyleCnt="3" custScaleX="120534">
        <dgm:presLayoutVars>
          <dgm:chMax val="0"/>
          <dgm:bulletEnabled val="1"/>
        </dgm:presLayoutVars>
      </dgm:prSet>
      <dgm:spPr/>
    </dgm:pt>
    <dgm:pt modelId="{EC7990BB-AB1F-46BB-9219-B2CD68ACD9D7}" type="pres">
      <dgm:prSet presAssocID="{417F965B-1F85-43F5-AC8D-82945568F596}" presName="negativeSpace" presStyleCnt="0"/>
      <dgm:spPr/>
    </dgm:pt>
    <dgm:pt modelId="{1A784EFF-FCA6-4F47-8DBC-AEE64E7C11D9}" type="pres">
      <dgm:prSet presAssocID="{417F965B-1F85-43F5-AC8D-82945568F596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5B157A10-A293-4382-843C-EA0777432DB6}" type="presOf" srcId="{7EC793CE-C532-4A8D-BA62-8D022A6EAEFB}" destId="{71BF279D-B847-48A5-900B-CA8A3660BE48}" srcOrd="1" destOrd="0" presId="urn:microsoft.com/office/officeart/2005/8/layout/list1"/>
    <dgm:cxn modelId="{27C9FB17-27F8-49DC-9D7C-28FB20CF473A}" type="presOf" srcId="{967188D4-6899-4A4E-9E21-39BABF5A2E55}" destId="{33854A5B-436F-4336-A48D-827A6A164F47}" srcOrd="1" destOrd="0" presId="urn:microsoft.com/office/officeart/2005/8/layout/list1"/>
    <dgm:cxn modelId="{4A03591E-9FF8-43B8-B30B-DA1276A7F138}" type="presOf" srcId="{967188D4-6899-4A4E-9E21-39BABF5A2E55}" destId="{7E378232-ABF7-42BA-99C4-A6546EAA1247}" srcOrd="0" destOrd="0" presId="urn:microsoft.com/office/officeart/2005/8/layout/list1"/>
    <dgm:cxn modelId="{468A135B-B61F-4EFC-8195-8423971920E6}" srcId="{C801EF54-078C-4D09-A0AA-F8334D7A7092}" destId="{417F965B-1F85-43F5-AC8D-82945568F596}" srcOrd="2" destOrd="0" parTransId="{6684E208-D221-4498-BC2C-8ABBECD1CDD5}" sibTransId="{8424592A-C3F4-4370-91D5-E26311C2374A}"/>
    <dgm:cxn modelId="{ED295560-4853-4791-A19F-7281784442BE}" type="presOf" srcId="{417F965B-1F85-43F5-AC8D-82945568F596}" destId="{7A47536E-5DA6-48C5-8E1D-B500FBD27A80}" srcOrd="0" destOrd="0" presId="urn:microsoft.com/office/officeart/2005/8/layout/list1"/>
    <dgm:cxn modelId="{4A490962-A341-4FB3-8621-30A2A4A24EB1}" srcId="{C801EF54-078C-4D09-A0AA-F8334D7A7092}" destId="{967188D4-6899-4A4E-9E21-39BABF5A2E55}" srcOrd="0" destOrd="0" parTransId="{272BCE98-137D-4A57-A1C8-766728AFEE92}" sibTransId="{1D7EB813-11ED-4604-9594-8BB51B244628}"/>
    <dgm:cxn modelId="{33DCDD63-4B83-49A7-930D-4A0CF518CAA2}" srcId="{C801EF54-078C-4D09-A0AA-F8334D7A7092}" destId="{7EC793CE-C532-4A8D-BA62-8D022A6EAEFB}" srcOrd="1" destOrd="0" parTransId="{F9C370C2-4521-4F0B-B265-0E2FB9C2DA42}" sibTransId="{E2CB86AD-122E-4414-9811-B6CCC131BF49}"/>
    <dgm:cxn modelId="{614AB67C-3599-4F53-9AFE-21258A015618}" type="presOf" srcId="{C801EF54-078C-4D09-A0AA-F8334D7A7092}" destId="{B2105A7A-EFB4-40C1-B9CB-A8B2738944F6}" srcOrd="0" destOrd="0" presId="urn:microsoft.com/office/officeart/2005/8/layout/list1"/>
    <dgm:cxn modelId="{311342CA-1225-48CB-A84F-2DEF07F480E0}" type="presOf" srcId="{417F965B-1F85-43F5-AC8D-82945568F596}" destId="{322493C1-5A86-4408-8875-9DF6D1F9770F}" srcOrd="1" destOrd="0" presId="urn:microsoft.com/office/officeart/2005/8/layout/list1"/>
    <dgm:cxn modelId="{BE47B2CC-E65C-4C4D-B277-F945548D663D}" type="presOf" srcId="{7EC793CE-C532-4A8D-BA62-8D022A6EAEFB}" destId="{1ABAE3D4-A299-46DD-A6A7-ED58D2F9CDE6}" srcOrd="0" destOrd="0" presId="urn:microsoft.com/office/officeart/2005/8/layout/list1"/>
    <dgm:cxn modelId="{17556AA0-4FFE-4FCE-890D-8E85F4557386}" type="presParOf" srcId="{B2105A7A-EFB4-40C1-B9CB-A8B2738944F6}" destId="{023E60BD-5C57-41E0-8C36-569B66C50227}" srcOrd="0" destOrd="0" presId="urn:microsoft.com/office/officeart/2005/8/layout/list1"/>
    <dgm:cxn modelId="{812953E1-82B2-4178-9E25-FC7F603A0397}" type="presParOf" srcId="{023E60BD-5C57-41E0-8C36-569B66C50227}" destId="{7E378232-ABF7-42BA-99C4-A6546EAA1247}" srcOrd="0" destOrd="0" presId="urn:microsoft.com/office/officeart/2005/8/layout/list1"/>
    <dgm:cxn modelId="{1BC7558F-CC51-4A28-939F-3BD938744A03}" type="presParOf" srcId="{023E60BD-5C57-41E0-8C36-569B66C50227}" destId="{33854A5B-436F-4336-A48D-827A6A164F47}" srcOrd="1" destOrd="0" presId="urn:microsoft.com/office/officeart/2005/8/layout/list1"/>
    <dgm:cxn modelId="{CE208BBE-7488-406C-8B46-DCC7BA8FC2E4}" type="presParOf" srcId="{B2105A7A-EFB4-40C1-B9CB-A8B2738944F6}" destId="{B17AC844-60D8-4FB4-94D6-B8E9FA3E23F6}" srcOrd="1" destOrd="0" presId="urn:microsoft.com/office/officeart/2005/8/layout/list1"/>
    <dgm:cxn modelId="{BCA71194-2F13-433A-B255-AA0725287B24}" type="presParOf" srcId="{B2105A7A-EFB4-40C1-B9CB-A8B2738944F6}" destId="{E0970BD5-675E-4C0C-91A0-64FFB2B02D0E}" srcOrd="2" destOrd="0" presId="urn:microsoft.com/office/officeart/2005/8/layout/list1"/>
    <dgm:cxn modelId="{06050BEC-377F-4C75-BD4D-4EA5F3C0B6B3}" type="presParOf" srcId="{B2105A7A-EFB4-40C1-B9CB-A8B2738944F6}" destId="{4745FB0C-E343-47D8-A37B-8F6C585F8C4C}" srcOrd="3" destOrd="0" presId="urn:microsoft.com/office/officeart/2005/8/layout/list1"/>
    <dgm:cxn modelId="{8592F69C-AA9B-4CA9-8F91-6E933B18EC86}" type="presParOf" srcId="{B2105A7A-EFB4-40C1-B9CB-A8B2738944F6}" destId="{FB087A6C-1CCD-4E66-AEAD-62505CA4F2CD}" srcOrd="4" destOrd="0" presId="urn:microsoft.com/office/officeart/2005/8/layout/list1"/>
    <dgm:cxn modelId="{5E3AA94A-BB69-4643-B98D-94BC17FC1DBA}" type="presParOf" srcId="{FB087A6C-1CCD-4E66-AEAD-62505CA4F2CD}" destId="{1ABAE3D4-A299-46DD-A6A7-ED58D2F9CDE6}" srcOrd="0" destOrd="0" presId="urn:microsoft.com/office/officeart/2005/8/layout/list1"/>
    <dgm:cxn modelId="{6CC0AEA6-D8FE-4473-8624-980B2282DF6A}" type="presParOf" srcId="{FB087A6C-1CCD-4E66-AEAD-62505CA4F2CD}" destId="{71BF279D-B847-48A5-900B-CA8A3660BE48}" srcOrd="1" destOrd="0" presId="urn:microsoft.com/office/officeart/2005/8/layout/list1"/>
    <dgm:cxn modelId="{FD7877C2-B6FE-49EF-9592-78120D83B7F0}" type="presParOf" srcId="{B2105A7A-EFB4-40C1-B9CB-A8B2738944F6}" destId="{F5F66C89-A689-4709-9E11-7F5DE554A9E5}" srcOrd="5" destOrd="0" presId="urn:microsoft.com/office/officeart/2005/8/layout/list1"/>
    <dgm:cxn modelId="{24C526BC-7908-428E-818B-B6B665E17F24}" type="presParOf" srcId="{B2105A7A-EFB4-40C1-B9CB-A8B2738944F6}" destId="{EE6505EC-B026-4E38-8E9C-ECF31275CDE4}" srcOrd="6" destOrd="0" presId="urn:microsoft.com/office/officeart/2005/8/layout/list1"/>
    <dgm:cxn modelId="{4C9294D0-1A5C-4D2E-8CCD-6CB764870D0B}" type="presParOf" srcId="{B2105A7A-EFB4-40C1-B9CB-A8B2738944F6}" destId="{5E477ACD-6E49-42C3-8492-5BF5B4DEAAC3}" srcOrd="7" destOrd="0" presId="urn:microsoft.com/office/officeart/2005/8/layout/list1"/>
    <dgm:cxn modelId="{CFD8AED7-6B19-442A-B7EA-D9DC90EB03EB}" type="presParOf" srcId="{B2105A7A-EFB4-40C1-B9CB-A8B2738944F6}" destId="{7D917416-CF51-4890-96F3-601BEB42DDE1}" srcOrd="8" destOrd="0" presId="urn:microsoft.com/office/officeart/2005/8/layout/list1"/>
    <dgm:cxn modelId="{FC6FE3A4-D91A-4BEA-B495-711E3D1D9FF2}" type="presParOf" srcId="{7D917416-CF51-4890-96F3-601BEB42DDE1}" destId="{7A47536E-5DA6-48C5-8E1D-B500FBD27A80}" srcOrd="0" destOrd="0" presId="urn:microsoft.com/office/officeart/2005/8/layout/list1"/>
    <dgm:cxn modelId="{4FC35125-3665-4AD5-BC17-8CD048B093C2}" type="presParOf" srcId="{7D917416-CF51-4890-96F3-601BEB42DDE1}" destId="{322493C1-5A86-4408-8875-9DF6D1F9770F}" srcOrd="1" destOrd="0" presId="urn:microsoft.com/office/officeart/2005/8/layout/list1"/>
    <dgm:cxn modelId="{28645626-0DB3-4FCF-BFAB-EB5FCB70D92A}" type="presParOf" srcId="{B2105A7A-EFB4-40C1-B9CB-A8B2738944F6}" destId="{EC7990BB-AB1F-46BB-9219-B2CD68ACD9D7}" srcOrd="9" destOrd="0" presId="urn:microsoft.com/office/officeart/2005/8/layout/list1"/>
    <dgm:cxn modelId="{5427DA70-FBC8-4CDD-97F7-20366840FEA2}" type="presParOf" srcId="{B2105A7A-EFB4-40C1-B9CB-A8B2738944F6}" destId="{1A784EFF-FCA6-4F47-8DBC-AEE64E7C11D9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349837-6BA5-4165-8530-33C616C38870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AU"/>
        </a:p>
      </dgm:t>
    </dgm:pt>
    <dgm:pt modelId="{E7A0D0D7-3512-475C-8945-B982E5279E29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AU" sz="4500" b="1" dirty="0"/>
            <a:t>Diverse Risk Management </a:t>
          </a:r>
        </a:p>
      </dgm:t>
    </dgm:pt>
    <dgm:pt modelId="{F06A2152-78D0-4BEF-9D2F-3658A1124751}" type="parTrans" cxnId="{237B4E20-FEF8-42C4-A11D-ED6B128197D0}">
      <dgm:prSet/>
      <dgm:spPr/>
      <dgm:t>
        <a:bodyPr/>
        <a:lstStyle/>
        <a:p>
          <a:endParaRPr lang="en-AU"/>
        </a:p>
      </dgm:t>
    </dgm:pt>
    <dgm:pt modelId="{CCC6347E-D2AC-4233-A10A-426298EF3CD1}" type="sibTrans" cxnId="{237B4E20-FEF8-42C4-A11D-ED6B128197D0}">
      <dgm:prSet/>
      <dgm:spPr/>
      <dgm:t>
        <a:bodyPr/>
        <a:lstStyle/>
        <a:p>
          <a:endParaRPr lang="en-AU"/>
        </a:p>
      </dgm:t>
    </dgm:pt>
    <dgm:pt modelId="{F7250DBF-8F37-48F5-84D0-B4FB5F2B8717}">
      <dgm:prSet phldrT="[Text]" custT="1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AU" sz="4400" b="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 Incorporate inclusion and diversity into risk assessments.</a:t>
          </a:r>
          <a:endParaRPr lang="en-AU" sz="4400" b="0" dirty="0"/>
        </a:p>
      </dgm:t>
    </dgm:pt>
    <dgm:pt modelId="{BBD31E43-8341-4FAF-97EC-07E90CF213FA}" type="parTrans" cxnId="{537F01FF-E08B-44E9-9FCC-C04572E8BCC9}">
      <dgm:prSet/>
      <dgm:spPr/>
      <dgm:t>
        <a:bodyPr/>
        <a:lstStyle/>
        <a:p>
          <a:endParaRPr lang="en-AU"/>
        </a:p>
      </dgm:t>
    </dgm:pt>
    <dgm:pt modelId="{023AF8D5-762C-413D-869A-BF1335877773}" type="sibTrans" cxnId="{537F01FF-E08B-44E9-9FCC-C04572E8BCC9}">
      <dgm:prSet/>
      <dgm:spPr/>
      <dgm:t>
        <a:bodyPr/>
        <a:lstStyle/>
        <a:p>
          <a:endParaRPr lang="en-AU"/>
        </a:p>
      </dgm:t>
    </dgm:pt>
    <dgm:pt modelId="{D5034DE3-A565-4BF7-89A8-E21ADCB6B8CC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AU" sz="4500" b="1" dirty="0"/>
            <a:t>Inclusive Oversight</a:t>
          </a:r>
        </a:p>
      </dgm:t>
    </dgm:pt>
    <dgm:pt modelId="{2F3A3D10-0E85-4AAE-AF46-4D60615A5546}" type="parTrans" cxnId="{0836485D-77EF-46D0-A6BC-47F49F1854CC}">
      <dgm:prSet/>
      <dgm:spPr/>
      <dgm:t>
        <a:bodyPr/>
        <a:lstStyle/>
        <a:p>
          <a:endParaRPr lang="en-AU"/>
        </a:p>
      </dgm:t>
    </dgm:pt>
    <dgm:pt modelId="{3B3683EA-20ED-4B7E-92A3-A8C95860778E}" type="sibTrans" cxnId="{0836485D-77EF-46D0-A6BC-47F49F1854CC}">
      <dgm:prSet/>
      <dgm:spPr/>
      <dgm:t>
        <a:bodyPr/>
        <a:lstStyle/>
        <a:p>
          <a:endParaRPr lang="en-AU"/>
        </a:p>
      </dgm:t>
    </dgm:pt>
    <dgm:pt modelId="{2D251CCE-AD74-4E10-B909-DE0520C0B1B4}">
      <dgm:prSet phldrT="[Text]" custT="1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AU" sz="4000" b="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 Ensure diverse perspectives in decision-making and oversight</a:t>
          </a:r>
          <a:endParaRPr lang="en-AU" sz="4000" b="0" dirty="0"/>
        </a:p>
      </dgm:t>
    </dgm:pt>
    <dgm:pt modelId="{DFFEFAA2-E2B1-4293-85F4-50A4E6BDA788}" type="parTrans" cxnId="{AD3099AB-1A7E-4EEF-9AE1-F965B5A450EA}">
      <dgm:prSet/>
      <dgm:spPr/>
      <dgm:t>
        <a:bodyPr/>
        <a:lstStyle/>
        <a:p>
          <a:endParaRPr lang="en-AU"/>
        </a:p>
      </dgm:t>
    </dgm:pt>
    <dgm:pt modelId="{64826122-1BA3-43F7-A4F2-1D4915AF710C}" type="sibTrans" cxnId="{AD3099AB-1A7E-4EEF-9AE1-F965B5A450EA}">
      <dgm:prSet/>
      <dgm:spPr/>
      <dgm:t>
        <a:bodyPr/>
        <a:lstStyle/>
        <a:p>
          <a:endParaRPr lang="en-AU"/>
        </a:p>
      </dgm:t>
    </dgm:pt>
    <dgm:pt modelId="{55024D8A-2145-4C3C-B05D-A587D63BDF37}">
      <dgm:prSet custT="1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AU" sz="4400" b="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 Proactively address human risks for a safer work environment.</a:t>
          </a:r>
        </a:p>
      </dgm:t>
    </dgm:pt>
    <dgm:pt modelId="{1016274A-D388-4391-971F-D8FA22D38611}" type="parTrans" cxnId="{160559F8-94ED-4237-91AC-D85D01E8B1E4}">
      <dgm:prSet/>
      <dgm:spPr/>
      <dgm:t>
        <a:bodyPr/>
        <a:lstStyle/>
        <a:p>
          <a:endParaRPr lang="en-AU"/>
        </a:p>
      </dgm:t>
    </dgm:pt>
    <dgm:pt modelId="{89534C01-FCAA-4DB3-BAB8-A0E5584B26C7}" type="sibTrans" cxnId="{160559F8-94ED-4237-91AC-D85D01E8B1E4}">
      <dgm:prSet/>
      <dgm:spPr/>
      <dgm:t>
        <a:bodyPr/>
        <a:lstStyle/>
        <a:p>
          <a:endParaRPr lang="en-AU"/>
        </a:p>
      </dgm:t>
    </dgm:pt>
    <dgm:pt modelId="{3B5B5E00-7F27-45BB-8311-1BB50E30B458}">
      <dgm:prSet custT="1"/>
      <dgm:spPr/>
      <dgm:t>
        <a:bodyPr/>
        <a:lstStyle/>
        <a:p>
          <a:endParaRPr lang="en-AU" sz="4400" b="0" dirty="0">
            <a:effectLst/>
            <a:latin typeface="+mj-lt"/>
            <a:ea typeface="Calibri" panose="020F0502020204030204" pitchFamily="34" charset="0"/>
            <a:cs typeface="Times New Roman" panose="02020603050405020304" pitchFamily="18" charset="0"/>
          </a:endParaRPr>
        </a:p>
      </dgm:t>
    </dgm:pt>
    <dgm:pt modelId="{0BB3A589-7DF3-4048-91C9-A0BF2CB76AC2}" type="parTrans" cxnId="{4F77287C-34EB-4BDC-A7B7-5878C1C8B12F}">
      <dgm:prSet/>
      <dgm:spPr/>
      <dgm:t>
        <a:bodyPr/>
        <a:lstStyle/>
        <a:p>
          <a:endParaRPr lang="en-AU"/>
        </a:p>
      </dgm:t>
    </dgm:pt>
    <dgm:pt modelId="{1AE04254-CC60-4155-A732-35E345C80897}" type="sibTrans" cxnId="{4F77287C-34EB-4BDC-A7B7-5878C1C8B12F}">
      <dgm:prSet/>
      <dgm:spPr/>
      <dgm:t>
        <a:bodyPr/>
        <a:lstStyle/>
        <a:p>
          <a:endParaRPr lang="en-AU"/>
        </a:p>
      </dgm:t>
    </dgm:pt>
    <dgm:pt modelId="{82F42928-1CDF-4B0B-9F46-759307F9B67D}">
      <dgm:prSet custT="1"/>
      <dgm:spPr/>
      <dgm:t>
        <a:bodyPr/>
        <a:lstStyle/>
        <a:p>
          <a:pPr>
            <a:buFont typeface="Courier New" panose="02070309020205020404" pitchFamily="49" charset="0"/>
            <a:buChar char="o"/>
          </a:pPr>
          <a:r>
            <a:rPr lang="en-AU" sz="4000" b="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 Promote equitable and effective outcomes by acknowledging a broad range of human experiences</a:t>
          </a:r>
        </a:p>
      </dgm:t>
    </dgm:pt>
    <dgm:pt modelId="{15A4C159-2D45-4BD4-8380-0A0CD91B061F}" type="parTrans" cxnId="{251A741A-EA9B-4C83-BDFA-976844A15907}">
      <dgm:prSet/>
      <dgm:spPr/>
      <dgm:t>
        <a:bodyPr/>
        <a:lstStyle/>
        <a:p>
          <a:endParaRPr lang="en-AU"/>
        </a:p>
      </dgm:t>
    </dgm:pt>
    <dgm:pt modelId="{A5C5D6FE-F1CE-4BB2-902E-6FD924A410F5}" type="sibTrans" cxnId="{251A741A-EA9B-4C83-BDFA-976844A15907}">
      <dgm:prSet/>
      <dgm:spPr/>
      <dgm:t>
        <a:bodyPr/>
        <a:lstStyle/>
        <a:p>
          <a:endParaRPr lang="en-AU"/>
        </a:p>
      </dgm:t>
    </dgm:pt>
    <dgm:pt modelId="{679DE2B4-CBDA-4CCE-A971-697D40EDA8B2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endParaRPr lang="en-AU" sz="4000" b="0" dirty="0"/>
        </a:p>
      </dgm:t>
    </dgm:pt>
    <dgm:pt modelId="{4B0C799E-8CB2-4136-856E-DBDAB575D19A}" type="parTrans" cxnId="{C0EB516D-E0DC-4327-AE80-FC5185E77CDA}">
      <dgm:prSet/>
      <dgm:spPr/>
      <dgm:t>
        <a:bodyPr/>
        <a:lstStyle/>
        <a:p>
          <a:endParaRPr lang="en-AU"/>
        </a:p>
      </dgm:t>
    </dgm:pt>
    <dgm:pt modelId="{06D1EE2C-C4A5-4295-85F2-62DC15C37506}" type="sibTrans" cxnId="{C0EB516D-E0DC-4327-AE80-FC5185E77CDA}">
      <dgm:prSet/>
      <dgm:spPr/>
      <dgm:t>
        <a:bodyPr/>
        <a:lstStyle/>
        <a:p>
          <a:endParaRPr lang="en-AU"/>
        </a:p>
      </dgm:t>
    </dgm:pt>
    <dgm:pt modelId="{5A3DD133-E8AF-4053-B38C-388E7DAD432F}" type="pres">
      <dgm:prSet presAssocID="{6B349837-6BA5-4165-8530-33C616C38870}" presName="linear" presStyleCnt="0">
        <dgm:presLayoutVars>
          <dgm:animLvl val="lvl"/>
          <dgm:resizeHandles val="exact"/>
        </dgm:presLayoutVars>
      </dgm:prSet>
      <dgm:spPr/>
    </dgm:pt>
    <dgm:pt modelId="{929C2C0C-9669-43DA-B36E-66AEBEF4A30E}" type="pres">
      <dgm:prSet presAssocID="{E7A0D0D7-3512-475C-8945-B982E5279E29}" presName="parentText" presStyleLbl="node1" presStyleIdx="0" presStyleCnt="2" custLinFactNeighborY="-6613">
        <dgm:presLayoutVars>
          <dgm:chMax val="0"/>
          <dgm:bulletEnabled val="1"/>
        </dgm:presLayoutVars>
      </dgm:prSet>
      <dgm:spPr/>
    </dgm:pt>
    <dgm:pt modelId="{6A27CC87-5E7A-45A4-89A3-A404905BCCC4}" type="pres">
      <dgm:prSet presAssocID="{E7A0D0D7-3512-475C-8945-B982E5279E29}" presName="childText" presStyleLbl="revTx" presStyleIdx="0" presStyleCnt="2">
        <dgm:presLayoutVars>
          <dgm:bulletEnabled val="1"/>
        </dgm:presLayoutVars>
      </dgm:prSet>
      <dgm:spPr/>
    </dgm:pt>
    <dgm:pt modelId="{C0F59B18-2D2D-4E63-9850-136818F478CD}" type="pres">
      <dgm:prSet presAssocID="{D5034DE3-A565-4BF7-89A8-E21ADCB6B8CC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597E1DF8-6A1C-4FF2-813D-C7CA9C5E33C5}" type="pres">
      <dgm:prSet presAssocID="{D5034DE3-A565-4BF7-89A8-E21ADCB6B8CC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D7854102-7AE6-4D36-A385-36A8DFE0B6B5}" type="presOf" srcId="{82F42928-1CDF-4B0B-9F46-759307F9B67D}" destId="{597E1DF8-6A1C-4FF2-813D-C7CA9C5E33C5}" srcOrd="0" destOrd="2" presId="urn:microsoft.com/office/officeart/2005/8/layout/vList2"/>
    <dgm:cxn modelId="{251A741A-EA9B-4C83-BDFA-976844A15907}" srcId="{D5034DE3-A565-4BF7-89A8-E21ADCB6B8CC}" destId="{82F42928-1CDF-4B0B-9F46-759307F9B67D}" srcOrd="2" destOrd="0" parTransId="{15A4C159-2D45-4BD4-8380-0A0CD91B061F}" sibTransId="{A5C5D6FE-F1CE-4BB2-902E-6FD924A410F5}"/>
    <dgm:cxn modelId="{F4D9331B-9392-400A-B26E-5F032508A61C}" type="presOf" srcId="{E7A0D0D7-3512-475C-8945-B982E5279E29}" destId="{929C2C0C-9669-43DA-B36E-66AEBEF4A30E}" srcOrd="0" destOrd="0" presId="urn:microsoft.com/office/officeart/2005/8/layout/vList2"/>
    <dgm:cxn modelId="{237B4E20-FEF8-42C4-A11D-ED6B128197D0}" srcId="{6B349837-6BA5-4165-8530-33C616C38870}" destId="{E7A0D0D7-3512-475C-8945-B982E5279E29}" srcOrd="0" destOrd="0" parTransId="{F06A2152-78D0-4BEF-9D2F-3658A1124751}" sibTransId="{CCC6347E-D2AC-4233-A10A-426298EF3CD1}"/>
    <dgm:cxn modelId="{3FEA4321-2EAC-426A-A838-86EA560E3DB6}" type="presOf" srcId="{679DE2B4-CBDA-4CCE-A971-697D40EDA8B2}" destId="{597E1DF8-6A1C-4FF2-813D-C7CA9C5E33C5}" srcOrd="0" destOrd="0" presId="urn:microsoft.com/office/officeart/2005/8/layout/vList2"/>
    <dgm:cxn modelId="{6978F33E-F70A-43FB-9377-963EFB015DFD}" type="presOf" srcId="{6B349837-6BA5-4165-8530-33C616C38870}" destId="{5A3DD133-E8AF-4053-B38C-388E7DAD432F}" srcOrd="0" destOrd="0" presId="urn:microsoft.com/office/officeart/2005/8/layout/vList2"/>
    <dgm:cxn modelId="{0836485D-77EF-46D0-A6BC-47F49F1854CC}" srcId="{6B349837-6BA5-4165-8530-33C616C38870}" destId="{D5034DE3-A565-4BF7-89A8-E21ADCB6B8CC}" srcOrd="1" destOrd="0" parTransId="{2F3A3D10-0E85-4AAE-AF46-4D60615A5546}" sibTransId="{3B3683EA-20ED-4B7E-92A3-A8C95860778E}"/>
    <dgm:cxn modelId="{C0EB516D-E0DC-4327-AE80-FC5185E77CDA}" srcId="{D5034DE3-A565-4BF7-89A8-E21ADCB6B8CC}" destId="{679DE2B4-CBDA-4CCE-A971-697D40EDA8B2}" srcOrd="0" destOrd="0" parTransId="{4B0C799E-8CB2-4136-856E-DBDAB575D19A}" sibTransId="{06D1EE2C-C4A5-4295-85F2-62DC15C37506}"/>
    <dgm:cxn modelId="{4F77287C-34EB-4BDC-A7B7-5878C1C8B12F}" srcId="{E7A0D0D7-3512-475C-8945-B982E5279E29}" destId="{3B5B5E00-7F27-45BB-8311-1BB50E30B458}" srcOrd="2" destOrd="0" parTransId="{0BB3A589-7DF3-4048-91C9-A0BF2CB76AC2}" sibTransId="{1AE04254-CC60-4155-A732-35E345C80897}"/>
    <dgm:cxn modelId="{AD3099AB-1A7E-4EEF-9AE1-F965B5A450EA}" srcId="{D5034DE3-A565-4BF7-89A8-E21ADCB6B8CC}" destId="{2D251CCE-AD74-4E10-B909-DE0520C0B1B4}" srcOrd="1" destOrd="0" parTransId="{DFFEFAA2-E2B1-4293-85F4-50A4E6BDA788}" sibTransId="{64826122-1BA3-43F7-A4F2-1D4915AF710C}"/>
    <dgm:cxn modelId="{FD0473BB-BB90-4D0B-B6C9-B73F6C0709B1}" type="presOf" srcId="{D5034DE3-A565-4BF7-89A8-E21ADCB6B8CC}" destId="{C0F59B18-2D2D-4E63-9850-136818F478CD}" srcOrd="0" destOrd="0" presId="urn:microsoft.com/office/officeart/2005/8/layout/vList2"/>
    <dgm:cxn modelId="{F30A6BC2-A9FF-4C50-AA1F-CE9A3EB598DE}" type="presOf" srcId="{F7250DBF-8F37-48F5-84D0-B4FB5F2B8717}" destId="{6A27CC87-5E7A-45A4-89A3-A404905BCCC4}" srcOrd="0" destOrd="0" presId="urn:microsoft.com/office/officeart/2005/8/layout/vList2"/>
    <dgm:cxn modelId="{E5BC40CA-8271-41A0-8230-58F4DFE44FAA}" type="presOf" srcId="{3B5B5E00-7F27-45BB-8311-1BB50E30B458}" destId="{6A27CC87-5E7A-45A4-89A3-A404905BCCC4}" srcOrd="0" destOrd="2" presId="urn:microsoft.com/office/officeart/2005/8/layout/vList2"/>
    <dgm:cxn modelId="{A9BCFACC-C30C-4EB9-B57F-9B5BFB976D17}" type="presOf" srcId="{55024D8A-2145-4C3C-B05D-A587D63BDF37}" destId="{6A27CC87-5E7A-45A4-89A3-A404905BCCC4}" srcOrd="0" destOrd="1" presId="urn:microsoft.com/office/officeart/2005/8/layout/vList2"/>
    <dgm:cxn modelId="{41397CF6-E4D2-498A-B00E-5B892C538135}" type="presOf" srcId="{2D251CCE-AD74-4E10-B909-DE0520C0B1B4}" destId="{597E1DF8-6A1C-4FF2-813D-C7CA9C5E33C5}" srcOrd="0" destOrd="1" presId="urn:microsoft.com/office/officeart/2005/8/layout/vList2"/>
    <dgm:cxn modelId="{160559F8-94ED-4237-91AC-D85D01E8B1E4}" srcId="{E7A0D0D7-3512-475C-8945-B982E5279E29}" destId="{55024D8A-2145-4C3C-B05D-A587D63BDF37}" srcOrd="1" destOrd="0" parTransId="{1016274A-D388-4391-971F-D8FA22D38611}" sibTransId="{89534C01-FCAA-4DB3-BAB8-A0E5584B26C7}"/>
    <dgm:cxn modelId="{537F01FF-E08B-44E9-9FCC-C04572E8BCC9}" srcId="{E7A0D0D7-3512-475C-8945-B982E5279E29}" destId="{F7250DBF-8F37-48F5-84D0-B4FB5F2B8717}" srcOrd="0" destOrd="0" parTransId="{BBD31E43-8341-4FAF-97EC-07E90CF213FA}" sibTransId="{023AF8D5-762C-413D-869A-BF1335877773}"/>
    <dgm:cxn modelId="{B9053EF2-C38D-440F-A7C1-41CE34F11725}" type="presParOf" srcId="{5A3DD133-E8AF-4053-B38C-388E7DAD432F}" destId="{929C2C0C-9669-43DA-B36E-66AEBEF4A30E}" srcOrd="0" destOrd="0" presId="urn:microsoft.com/office/officeart/2005/8/layout/vList2"/>
    <dgm:cxn modelId="{949DBAAF-79EB-452A-9AC2-2683786E11D0}" type="presParOf" srcId="{5A3DD133-E8AF-4053-B38C-388E7DAD432F}" destId="{6A27CC87-5E7A-45A4-89A3-A404905BCCC4}" srcOrd="1" destOrd="0" presId="urn:microsoft.com/office/officeart/2005/8/layout/vList2"/>
    <dgm:cxn modelId="{B8F0BE22-1711-47F4-8183-9574EDF018E3}" type="presParOf" srcId="{5A3DD133-E8AF-4053-B38C-388E7DAD432F}" destId="{C0F59B18-2D2D-4E63-9850-136818F478CD}" srcOrd="2" destOrd="0" presId="urn:microsoft.com/office/officeart/2005/8/layout/vList2"/>
    <dgm:cxn modelId="{F434DF70-450A-44BA-9717-E4E3135E92F1}" type="presParOf" srcId="{5A3DD133-E8AF-4053-B38C-388E7DAD432F}" destId="{597E1DF8-6A1C-4FF2-813D-C7CA9C5E33C5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970BD5-675E-4C0C-91A0-64FFB2B02D0E}">
      <dsp:nvSpPr>
        <dsp:cNvPr id="0" name=""/>
        <dsp:cNvSpPr/>
      </dsp:nvSpPr>
      <dsp:spPr>
        <a:xfrm>
          <a:off x="0" y="2130613"/>
          <a:ext cx="16254942" cy="163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854A5B-436F-4336-A48D-827A6A164F47}">
      <dsp:nvSpPr>
        <dsp:cNvPr id="0" name=""/>
        <dsp:cNvSpPr/>
      </dsp:nvSpPr>
      <dsp:spPr>
        <a:xfrm>
          <a:off x="812747" y="1171213"/>
          <a:ext cx="13414862" cy="1918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30079" tIns="0" rIns="430079" bIns="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4800" b="1" kern="1200" dirty="0">
              <a:latin typeface="+mj-lt"/>
            </a:rPr>
            <a:t>Key Findings</a:t>
          </a:r>
        </a:p>
      </dsp:txBody>
      <dsp:txXfrm>
        <a:off x="906415" y="1264881"/>
        <a:ext cx="13227526" cy="1731464"/>
      </dsp:txXfrm>
    </dsp:sp>
    <dsp:sp modelId="{EE6505EC-B026-4E38-8E9C-ECF31275CDE4}">
      <dsp:nvSpPr>
        <dsp:cNvPr id="0" name=""/>
        <dsp:cNvSpPr/>
      </dsp:nvSpPr>
      <dsp:spPr>
        <a:xfrm>
          <a:off x="0" y="5079013"/>
          <a:ext cx="16254942" cy="163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BF279D-B847-48A5-900B-CA8A3660BE48}">
      <dsp:nvSpPr>
        <dsp:cNvPr id="0" name=""/>
        <dsp:cNvSpPr/>
      </dsp:nvSpPr>
      <dsp:spPr>
        <a:xfrm>
          <a:off x="812747" y="4119614"/>
          <a:ext cx="13564033" cy="19188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30079" tIns="0" rIns="430079" bIns="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4800" b="1" kern="1200" dirty="0"/>
            <a:t>Recommendations for Change</a:t>
          </a:r>
        </a:p>
      </dsp:txBody>
      <dsp:txXfrm>
        <a:off x="906415" y="4213282"/>
        <a:ext cx="13376697" cy="1731464"/>
      </dsp:txXfrm>
    </dsp:sp>
    <dsp:sp modelId="{1A784EFF-FCA6-4F47-8DBC-AEE64E7C11D9}">
      <dsp:nvSpPr>
        <dsp:cNvPr id="0" name=""/>
        <dsp:cNvSpPr/>
      </dsp:nvSpPr>
      <dsp:spPr>
        <a:xfrm>
          <a:off x="0" y="8027414"/>
          <a:ext cx="16254942" cy="163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2493C1-5A86-4408-8875-9DF6D1F9770F}">
      <dsp:nvSpPr>
        <dsp:cNvPr id="0" name=""/>
        <dsp:cNvSpPr/>
      </dsp:nvSpPr>
      <dsp:spPr>
        <a:xfrm>
          <a:off x="812747" y="7068014"/>
          <a:ext cx="13714912" cy="19188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30079" tIns="0" rIns="430079" bIns="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4800" b="1" kern="1200" dirty="0"/>
            <a:t>Actions Taken</a:t>
          </a:r>
        </a:p>
      </dsp:txBody>
      <dsp:txXfrm>
        <a:off x="906415" y="7161682"/>
        <a:ext cx="13527576" cy="17314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9C2C0C-9669-43DA-B36E-66AEBEF4A30E}">
      <dsp:nvSpPr>
        <dsp:cNvPr id="0" name=""/>
        <dsp:cNvSpPr/>
      </dsp:nvSpPr>
      <dsp:spPr>
        <a:xfrm>
          <a:off x="0" y="1505194"/>
          <a:ext cx="16254942" cy="1216800"/>
        </a:xfrm>
        <a:prstGeom prst="roundRect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4500" b="1" kern="1200" dirty="0"/>
            <a:t>Diverse Risk Management </a:t>
          </a:r>
        </a:p>
      </dsp:txBody>
      <dsp:txXfrm>
        <a:off x="59399" y="1564593"/>
        <a:ext cx="16136144" cy="1098002"/>
      </dsp:txXfrm>
    </dsp:sp>
    <dsp:sp modelId="{6A27CC87-5E7A-45A4-89A3-A404905BCCC4}">
      <dsp:nvSpPr>
        <dsp:cNvPr id="0" name=""/>
        <dsp:cNvSpPr/>
      </dsp:nvSpPr>
      <dsp:spPr>
        <a:xfrm>
          <a:off x="0" y="2895501"/>
          <a:ext cx="16254942" cy="26237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094" tIns="55880" rIns="312928" bIns="55880" numCol="1" spcCol="1270" anchor="t" anchorCtr="0">
          <a:noAutofit/>
        </a:bodyPr>
        <a:lstStyle/>
        <a:p>
          <a:pPr marL="285750" lvl="1" indent="-285750" algn="l" defTabSz="19558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Courier New" panose="02070309020205020404" pitchFamily="49" charset="0"/>
            <a:buChar char="o"/>
          </a:pPr>
          <a:r>
            <a:rPr lang="en-AU" sz="4400" b="0" kern="1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 Incorporate inclusion and diversity into risk assessments.</a:t>
          </a:r>
          <a:endParaRPr lang="en-AU" sz="4400" b="0" kern="1200" dirty="0"/>
        </a:p>
        <a:p>
          <a:pPr marL="285750" lvl="1" indent="-285750" algn="l" defTabSz="19558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Courier New" panose="02070309020205020404" pitchFamily="49" charset="0"/>
            <a:buChar char="o"/>
          </a:pPr>
          <a:r>
            <a:rPr lang="en-AU" sz="4400" b="0" kern="1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 Proactively address human risks for a safer work environment.</a:t>
          </a:r>
        </a:p>
        <a:p>
          <a:pPr marL="285750" lvl="1" indent="-285750" algn="l" defTabSz="1955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AU" sz="4400" b="0" kern="1200" dirty="0">
            <a:effectLst/>
            <a:latin typeface="+mj-lt"/>
            <a:ea typeface="Calibri" panose="020F0502020204030204" pitchFamily="34" charset="0"/>
            <a:cs typeface="Times New Roman" panose="02020603050405020304" pitchFamily="18" charset="0"/>
          </a:endParaRPr>
        </a:p>
      </dsp:txBody>
      <dsp:txXfrm>
        <a:off x="0" y="2895501"/>
        <a:ext cx="16254942" cy="2623725"/>
      </dsp:txXfrm>
    </dsp:sp>
    <dsp:sp modelId="{C0F59B18-2D2D-4E63-9850-136818F478CD}">
      <dsp:nvSpPr>
        <dsp:cNvPr id="0" name=""/>
        <dsp:cNvSpPr/>
      </dsp:nvSpPr>
      <dsp:spPr>
        <a:xfrm>
          <a:off x="0" y="5519226"/>
          <a:ext cx="16254942" cy="1216800"/>
        </a:xfrm>
        <a:prstGeom prst="round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marL="0" lvl="0" indent="0" algn="l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4500" b="1" kern="1200" dirty="0"/>
            <a:t>Inclusive Oversight</a:t>
          </a:r>
        </a:p>
      </dsp:txBody>
      <dsp:txXfrm>
        <a:off x="59399" y="5578625"/>
        <a:ext cx="16136144" cy="1098002"/>
      </dsp:txXfrm>
    </dsp:sp>
    <dsp:sp modelId="{597E1DF8-6A1C-4FF2-813D-C7CA9C5E33C5}">
      <dsp:nvSpPr>
        <dsp:cNvPr id="0" name=""/>
        <dsp:cNvSpPr/>
      </dsp:nvSpPr>
      <dsp:spPr>
        <a:xfrm>
          <a:off x="0" y="6736026"/>
          <a:ext cx="16254942" cy="2421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6094" tIns="50800" rIns="284480" bIns="50800" numCol="1" spcCol="1270" anchor="t" anchorCtr="0">
          <a:noAutofit/>
        </a:bodyPr>
        <a:lstStyle/>
        <a:p>
          <a:pPr marL="285750" lvl="1" indent="-285750" algn="l" defTabSz="1778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endParaRPr lang="en-AU" sz="4000" b="0" kern="1200" dirty="0"/>
        </a:p>
        <a:p>
          <a:pPr marL="285750" lvl="1" indent="-285750" algn="l" defTabSz="1778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Courier New" panose="02070309020205020404" pitchFamily="49" charset="0"/>
            <a:buChar char="o"/>
          </a:pPr>
          <a:r>
            <a:rPr lang="en-AU" sz="4000" b="0" kern="1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 Ensure diverse perspectives in decision-making and oversight</a:t>
          </a:r>
          <a:endParaRPr lang="en-AU" sz="4000" b="0" kern="1200" dirty="0"/>
        </a:p>
        <a:p>
          <a:pPr marL="285750" lvl="1" indent="-285750" algn="l" defTabSz="1778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Courier New" panose="02070309020205020404" pitchFamily="49" charset="0"/>
            <a:buChar char="o"/>
          </a:pPr>
          <a:r>
            <a:rPr lang="en-AU" sz="4000" b="0" kern="1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rPr>
            <a:t> Promote equitable and effective outcomes by acknowledging a broad range of human experiences</a:t>
          </a:r>
        </a:p>
      </dsp:txBody>
      <dsp:txXfrm>
        <a:off x="0" y="6736026"/>
        <a:ext cx="16254942" cy="24219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871CC3-4A0A-1549-8A2D-24D026794F37}" type="datetimeFigureOut">
              <a:rPr lang="en-AU" smtClean="0"/>
              <a:t>2/10/2024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258CC6-02E9-DB4D-8172-27FC6A690E31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994458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8" userDrawn="1">
          <p15:clr>
            <a:srgbClr val="F26B43"/>
          </p15:clr>
        </p15:guide>
        <p15:guide id="2" pos="214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/>
              <a:t>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272B28-2786-42F9-AEFA-D8359C365BFD}" type="slidenum">
              <a:rPr lang="en-NZ" smtClean="0"/>
              <a:t>2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0508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258CC6-02E9-DB4D-8172-27FC6A690E31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755718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258CC6-02E9-DB4D-8172-27FC6A690E31}" type="slidenum">
              <a:rPr lang="en-AU" smtClean="0"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13055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258CC6-02E9-DB4D-8172-27FC6A690E31}" type="slidenum">
              <a:rPr lang="en-AU" smtClean="0"/>
              <a:t>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080413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258CC6-02E9-DB4D-8172-27FC6A690E31}" type="slidenum">
              <a:rPr lang="en-AU" smtClean="0"/>
              <a:t>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68483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258CC6-02E9-DB4D-8172-27FC6A690E31}" type="slidenum">
              <a:rPr lang="en-AU" smtClean="0"/>
              <a:t>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49107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27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2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2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2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2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2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2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2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2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27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2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2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2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27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2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2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2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2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2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2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2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2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2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27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27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2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2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2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8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27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2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27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8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2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2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2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2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117321-3BD6-3D34-1821-CBBE5B2F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0180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117321-3BD6-3D34-1821-CBBE5B2F2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4212ED-E598-1569-5BD4-B685B5536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617" y="5547895"/>
            <a:ext cx="10040400" cy="2659190"/>
          </a:xfrm>
        </p:spPr>
        <p:txBody>
          <a:bodyPr vert="horz" anchor="b">
            <a:noAutofit/>
          </a:bodyPr>
          <a:lstStyle>
            <a:lvl1pPr algn="l">
              <a:defRPr sz="8000" spc="-500" baseline="0"/>
            </a:lvl1pPr>
          </a:lstStyle>
          <a:p>
            <a:r>
              <a:rPr lang="en-GB" dirty="0"/>
              <a:t>PRESENTATION TITLE HERE</a:t>
            </a:r>
            <a:endParaRPr lang="en-A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5E20138-3131-FBD4-FCF5-D103D539C5C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46638" y="576263"/>
            <a:ext cx="3840480" cy="79248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B8C3335-DC73-825E-90EF-CE5B2BB5C1D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97643" y="576001"/>
            <a:ext cx="12644164" cy="12602979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0F458B7-DF47-4D41-4772-CEFDF29CF5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967" y="12779639"/>
            <a:ext cx="5800477" cy="442035"/>
          </a:xfrm>
        </p:spPr>
        <p:txBody>
          <a:bodyPr tIns="72000" anchor="b" anchorCtr="0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en-GB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4257368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963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05E36D57-C112-CDCA-FED8-69E5F75EDD2E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rgbClr val="F15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783013"/>
            <a:ext cx="10020593" cy="1329595"/>
          </a:xfrm>
        </p:spPr>
        <p:txBody>
          <a:bodyPr vert="horz">
            <a:noAutofit/>
          </a:bodyPr>
          <a:lstStyle>
            <a:lvl1pPr>
              <a:defRPr sz="9600"/>
            </a:lvl1pPr>
          </a:lstStyle>
          <a:p>
            <a:r>
              <a:rPr lang="en-GB" dirty="0"/>
              <a:t>SECTION NAM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62190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72735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05E36D57-C112-CDCA-FED8-69E5F75EDD2E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rgbClr val="2035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783013"/>
            <a:ext cx="10020593" cy="1329595"/>
          </a:xfrm>
        </p:spPr>
        <p:txBody>
          <a:bodyPr vert="horz">
            <a:noAutofit/>
          </a:bodyPr>
          <a:lstStyle>
            <a:lvl1pPr>
              <a:defRPr sz="9600"/>
            </a:lvl1pPr>
          </a:lstStyle>
          <a:p>
            <a:r>
              <a:rPr lang="en-GB" dirty="0"/>
              <a:t>SECTION NAM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86090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+ cap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8222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E2ACE55-4AF0-D869-E259-EAA1EE18C694}"/>
              </a:ext>
            </a:extLst>
          </p:cNvPr>
          <p:cNvCxnSpPr>
            <a:cxnSpLocks/>
          </p:cNvCxnSpPr>
          <p:nvPr userDrawn="1"/>
        </p:nvCxnSpPr>
        <p:spPr>
          <a:xfrm>
            <a:off x="4834446" y="10061575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8013F2DD-A238-D6DA-CEB9-B36CC64ED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41096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83993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+ capti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5600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3BCBCB9-AD03-2CF7-1A9B-D3FD21FC4C63}"/>
              </a:ext>
            </a:extLst>
          </p:cNvPr>
          <p:cNvSpPr/>
          <p:nvPr userDrawn="1"/>
        </p:nvSpPr>
        <p:spPr>
          <a:xfrm>
            <a:off x="4702174" y="0"/>
            <a:ext cx="19680239" cy="13716000"/>
          </a:xfrm>
          <a:prstGeom prst="rect">
            <a:avLst/>
          </a:prstGeom>
          <a:solidFill>
            <a:srgbClr val="9FB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8013F2DD-A238-D6DA-CEB9-B36CC64ED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13684" y="10061575"/>
            <a:ext cx="5853600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6074E21-9C07-4D8B-1A87-C7B53FF8D158}"/>
              </a:ext>
            </a:extLst>
          </p:cNvPr>
          <p:cNvCxnSpPr>
            <a:cxnSpLocks/>
          </p:cNvCxnSpPr>
          <p:nvPr userDrawn="1"/>
        </p:nvCxnSpPr>
        <p:spPr>
          <a:xfrm>
            <a:off x="5213684" y="10061575"/>
            <a:ext cx="58536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6830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arg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4237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1F5D9BA-9A1B-D044-2749-5F170FC224AE}"/>
              </a:ext>
            </a:extLst>
          </p:cNvPr>
          <p:cNvSpPr/>
          <p:nvPr userDrawn="1"/>
        </p:nvSpPr>
        <p:spPr>
          <a:xfrm>
            <a:off x="4702174" y="0"/>
            <a:ext cx="19680239" cy="13716000"/>
          </a:xfrm>
          <a:prstGeom prst="rect">
            <a:avLst/>
          </a:prstGeom>
          <a:solidFill>
            <a:srgbClr val="F15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66944" y="564942"/>
            <a:ext cx="18553494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34257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large imag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5072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1F5D9BA-9A1B-D044-2749-5F170FC224AE}"/>
              </a:ext>
            </a:extLst>
          </p:cNvPr>
          <p:cNvSpPr/>
          <p:nvPr userDrawn="1"/>
        </p:nvSpPr>
        <p:spPr>
          <a:xfrm>
            <a:off x="4702174" y="0"/>
            <a:ext cx="19680239" cy="13716000"/>
          </a:xfrm>
          <a:prstGeom prst="rect">
            <a:avLst/>
          </a:prstGeom>
          <a:solidFill>
            <a:srgbClr val="2035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66944" y="564942"/>
            <a:ext cx="18553494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5008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1755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1">
            <a:extLst>
              <a:ext uri="{FF2B5EF4-FFF2-40B4-BE49-F238E27FC236}">
                <a16:creationId xmlns:a16="http://schemas.microsoft.com/office/drawing/2014/main" id="{E6B72CE2-CD13-DDC6-9D51-89F5D580C4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50448" y="3797301"/>
            <a:ext cx="6220118" cy="61214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17" name="Picture Placeholder 21">
            <a:extLst>
              <a:ext uri="{FF2B5EF4-FFF2-40B4-BE49-F238E27FC236}">
                <a16:creationId xmlns:a16="http://schemas.microsoft.com/office/drawing/2014/main" id="{D4E974C3-8951-0AFA-81E2-C85E4E426F4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226864" y="3797301"/>
            <a:ext cx="6220118" cy="61214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18" name="Picture Placeholder 21">
            <a:extLst>
              <a:ext uri="{FF2B5EF4-FFF2-40B4-BE49-F238E27FC236}">
                <a16:creationId xmlns:a16="http://schemas.microsoft.com/office/drawing/2014/main" id="{A6E05FAE-CCB8-D812-BCE6-D01F114E089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591088" y="3797301"/>
            <a:ext cx="6220118" cy="61214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81C1EA4-6EA5-50A1-4331-841C1F852191}"/>
              </a:ext>
            </a:extLst>
          </p:cNvPr>
          <p:cNvCxnSpPr>
            <a:cxnSpLocks/>
          </p:cNvCxnSpPr>
          <p:nvPr userDrawn="1"/>
        </p:nvCxnSpPr>
        <p:spPr>
          <a:xfrm>
            <a:off x="17599470" y="10087437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3F1E8C-C315-034A-FAE9-237D808051AC}"/>
              </a:ext>
            </a:extLst>
          </p:cNvPr>
          <p:cNvCxnSpPr>
            <a:cxnSpLocks/>
          </p:cNvCxnSpPr>
          <p:nvPr userDrawn="1"/>
        </p:nvCxnSpPr>
        <p:spPr>
          <a:xfrm>
            <a:off x="11235246" y="10087437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0A2370-4CEB-CBDD-2D71-5BE258B2D297}"/>
              </a:ext>
            </a:extLst>
          </p:cNvPr>
          <p:cNvCxnSpPr>
            <a:cxnSpLocks/>
          </p:cNvCxnSpPr>
          <p:nvPr userDrawn="1"/>
        </p:nvCxnSpPr>
        <p:spPr>
          <a:xfrm>
            <a:off x="4858830" y="10087437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30C2D43-EF75-CF45-4053-F0282BC231A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1096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573B9140-A2D8-5A13-3C77-98C3191532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225870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1615C09-9FE5-2A0C-8E0B-81B9F23CCE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606120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7714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187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FBFA785-B7DE-9128-2C6B-3F39F5759816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rgbClr val="F1E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B10892A-34BD-FE14-928D-6EF70E01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24800" y="3819599"/>
            <a:ext cx="12592799" cy="8691488"/>
          </a:xfrm>
          <a:prstGeom prst="rect">
            <a:avLst/>
          </a:prstGeom>
        </p:spPr>
        <p:txBody>
          <a:bodyPr lIns="0" tIns="21600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055631-DE59-3DB3-A795-52E860BA85A3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3819271"/>
            <a:ext cx="1260957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30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928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FBFA785-B7DE-9128-2C6B-3F39F5759816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B10892A-34BD-FE14-928D-6EF70E01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24800" y="3819599"/>
            <a:ext cx="12592799" cy="8294603"/>
          </a:xfrm>
          <a:prstGeom prst="rect">
            <a:avLst/>
          </a:prstGeom>
        </p:spPr>
        <p:txBody>
          <a:bodyPr lIns="0" tIns="21600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055631-DE59-3DB3-A795-52E860BA85A3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3819271"/>
            <a:ext cx="1260957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483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7925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822C5634-6004-3C88-401E-6A52CB4B6980}"/>
              </a:ext>
            </a:extLst>
          </p:cNvPr>
          <p:cNvSpPr/>
          <p:nvPr userDrawn="1"/>
        </p:nvSpPr>
        <p:spPr>
          <a:xfrm>
            <a:off x="4702174" y="0"/>
            <a:ext cx="19680239" cy="13716000"/>
          </a:xfrm>
          <a:prstGeom prst="rect">
            <a:avLst/>
          </a:prstGeom>
          <a:solidFill>
            <a:srgbClr val="F1E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D16B15B-5263-4719-968A-3D354819B75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85232" y="557212"/>
            <a:ext cx="12160800" cy="5893824"/>
          </a:xfrm>
          <a:solidFill>
            <a:schemeClr val="bg1">
              <a:lumMod val="95000"/>
            </a:schemeClr>
          </a:solidFill>
        </p:spPr>
        <p:txBody>
          <a:bodyPr tIns="0">
            <a:normAutofit/>
          </a:bodyPr>
          <a:lstStyle>
            <a:lvl1pPr>
              <a:defRPr sz="2000"/>
            </a:lvl1pPr>
          </a:lstStyle>
          <a:p>
            <a:r>
              <a:rPr lang="en-AU" dirty="0"/>
              <a:t>Click icon to add imag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90645BCE-AED9-2B08-C027-7AEF1E5CDF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85232" y="6617264"/>
            <a:ext cx="12160800" cy="5893824"/>
          </a:xfrm>
          <a:solidFill>
            <a:schemeClr val="bg1">
              <a:lumMod val="95000"/>
            </a:schemeClr>
          </a:solidFill>
        </p:spPr>
        <p:txBody>
          <a:bodyPr tIns="0">
            <a:normAutofit/>
          </a:bodyPr>
          <a:lstStyle>
            <a:lvl1pPr>
              <a:defRPr sz="2000"/>
            </a:lvl1pPr>
          </a:lstStyle>
          <a:p>
            <a:r>
              <a:rPr lang="en-AU" dirty="0"/>
              <a:t>Click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255F5-0C0E-67ED-D5B1-66DDF9AD65D5}"/>
              </a:ext>
            </a:extLst>
          </p:cNvPr>
          <p:cNvCxnSpPr>
            <a:cxnSpLocks/>
          </p:cNvCxnSpPr>
          <p:nvPr userDrawn="1"/>
        </p:nvCxnSpPr>
        <p:spPr>
          <a:xfrm>
            <a:off x="17596487" y="6617258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7AA2DF0-30E2-82F6-9042-60223D3FF5BF}"/>
              </a:ext>
            </a:extLst>
          </p:cNvPr>
          <p:cNvCxnSpPr>
            <a:cxnSpLocks/>
          </p:cNvCxnSpPr>
          <p:nvPr userDrawn="1"/>
        </p:nvCxnSpPr>
        <p:spPr>
          <a:xfrm>
            <a:off x="17596487" y="557214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A125F0FC-0F97-A6AE-7074-48D5CDD4B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596487" y="557214"/>
            <a:ext cx="6221112" cy="5893825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B7E965DB-B715-9008-25CF-E47EB107D3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96487" y="6617258"/>
            <a:ext cx="6221112" cy="5893200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1693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117321-3BD6-3D34-1821-CBBE5B2F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9184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117321-3BD6-3D34-1821-CBBE5B2F2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B1DE2CA-7723-A121-99C8-FCD8A672E4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03443" y="569404"/>
            <a:ext cx="12625353" cy="126015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34212ED-E598-1569-5BD4-B685B5536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617" y="5547895"/>
            <a:ext cx="10040400" cy="2659190"/>
          </a:xfrm>
        </p:spPr>
        <p:txBody>
          <a:bodyPr vert="horz" anchor="b">
            <a:noAutofit/>
          </a:bodyPr>
          <a:lstStyle>
            <a:lvl1pPr algn="l">
              <a:defRPr sz="8000" spc="-500" baseline="0"/>
            </a:lvl1pPr>
          </a:lstStyle>
          <a:p>
            <a:r>
              <a:rPr lang="en-GB" dirty="0"/>
              <a:t>PRESENTATION TITLE HERE</a:t>
            </a:r>
            <a:endParaRPr lang="en-AU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B082B78-F9AB-C8D0-104E-F6628BEC28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46638" y="576263"/>
            <a:ext cx="3840480" cy="79248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DC8F775-4BF9-DE57-71D7-03139C1C19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967" y="12779639"/>
            <a:ext cx="5800477" cy="442035"/>
          </a:xfrm>
        </p:spPr>
        <p:txBody>
          <a:bodyPr tIns="72000" anchor="b" anchorCtr="0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en-GB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2651063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6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033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828193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6F694BA-2082-EBE9-A9A4-5C19385311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4446" y="3817276"/>
            <a:ext cx="6238799" cy="2425129"/>
          </a:xfrm>
        </p:spPr>
        <p:txBody>
          <a:bodyPr rIns="144000">
            <a:no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DB70B91A-6FDB-B867-8937-C350C641D0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4446" y="6940423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6820231-789C-53E9-99A6-A714A9FBEA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34446" y="10085959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27FBCFF6-C9B5-89BC-E111-2D8CE4B44B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10862" y="3817276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18843067-69C5-F418-D006-2A1FEC9E46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210862" y="6940423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FB966FB3-2DEC-9282-0C5B-0C034F72EA3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210862" y="10085959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4FB61D95-F478-4BFF-597B-B60EFF07105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7599470" y="3817276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10B9186-CA6B-F196-C4D7-AD0B5455810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599470" y="6940423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D9945532-6C3C-BC72-98A1-3ABAEECBB8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599470" y="10085959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65B99FE-BC9B-B4FE-5F05-96938A0302DF}"/>
              </a:ext>
            </a:extLst>
          </p:cNvPr>
          <p:cNvCxnSpPr>
            <a:cxnSpLocks/>
          </p:cNvCxnSpPr>
          <p:nvPr userDrawn="1"/>
        </p:nvCxnSpPr>
        <p:spPr>
          <a:xfrm>
            <a:off x="4834446" y="6940423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1EEBC2B-17CE-EE3E-9D3E-33997D8D5AF1}"/>
              </a:ext>
            </a:extLst>
          </p:cNvPr>
          <p:cNvCxnSpPr>
            <a:cxnSpLocks/>
          </p:cNvCxnSpPr>
          <p:nvPr userDrawn="1"/>
        </p:nvCxnSpPr>
        <p:spPr>
          <a:xfrm>
            <a:off x="4834446" y="10085959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D7BD97B-E23A-1FD0-B160-876B55BF8E76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6940423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358ED72-7134-0681-6DEB-D8104438BE68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10085959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796F9F9-B563-7609-67A9-D910A7A9712C}"/>
              </a:ext>
            </a:extLst>
          </p:cNvPr>
          <p:cNvCxnSpPr>
            <a:cxnSpLocks/>
          </p:cNvCxnSpPr>
          <p:nvPr userDrawn="1"/>
        </p:nvCxnSpPr>
        <p:spPr>
          <a:xfrm>
            <a:off x="17599470" y="6940423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FC40D3B-5A07-D42A-CF72-179D252F2D37}"/>
              </a:ext>
            </a:extLst>
          </p:cNvPr>
          <p:cNvCxnSpPr>
            <a:cxnSpLocks/>
          </p:cNvCxnSpPr>
          <p:nvPr userDrawn="1"/>
        </p:nvCxnSpPr>
        <p:spPr>
          <a:xfrm>
            <a:off x="17599470" y="10085959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E5451FC-FACD-9E6F-07CB-19BB536FC981}"/>
              </a:ext>
            </a:extLst>
          </p:cNvPr>
          <p:cNvCxnSpPr>
            <a:cxnSpLocks/>
          </p:cNvCxnSpPr>
          <p:nvPr userDrawn="1"/>
        </p:nvCxnSpPr>
        <p:spPr>
          <a:xfrm>
            <a:off x="4834446" y="3817277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20FE67D-5ED3-56C2-1D29-070020F52FDD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3817277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D241E83-BBF6-E55B-483E-B3360C7BC807}"/>
              </a:ext>
            </a:extLst>
          </p:cNvPr>
          <p:cNvCxnSpPr>
            <a:cxnSpLocks/>
          </p:cNvCxnSpPr>
          <p:nvPr userDrawn="1"/>
        </p:nvCxnSpPr>
        <p:spPr>
          <a:xfrm>
            <a:off x="17599470" y="3817277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650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0827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4A243F3-142E-6B28-79C9-33E9B3C05B9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25314" y="3819600"/>
            <a:ext cx="18295124" cy="869148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39512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4144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CA4D2D7-2F84-C0F8-8C0B-B9837E0A1C75}"/>
              </a:ext>
            </a:extLst>
          </p:cNvPr>
          <p:cNvCxnSpPr>
            <a:cxnSpLocks/>
          </p:cNvCxnSpPr>
          <p:nvPr userDrawn="1"/>
        </p:nvCxnSpPr>
        <p:spPr>
          <a:xfrm>
            <a:off x="5525314" y="3826067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ECEB4FDD-F20F-8CD4-B488-6D7E1A5C18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25314" y="3826067"/>
            <a:ext cx="6221112" cy="8685017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 marL="342900" indent="-342900" algn="l" defTabSz="1828326" rtl="0" eaLnBrk="1" latinLnBrk="0" hangingPunct="1">
              <a:spcAft>
                <a:spcPts val="1000"/>
              </a:spcAft>
              <a:buFont typeface="Arial" panose="020B0604020202020204" pitchFamily="34" charset="0"/>
              <a:buChar char="•"/>
              <a:defRPr lang="en-GB" sz="2400" kern="1200" dirty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674688" indent="-354013">
              <a:spcAft>
                <a:spcPts val="0"/>
              </a:spcAft>
              <a:tabLst/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E93B92F4-8347-F27A-5D04-95844E68C4D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066814" y="3819600"/>
            <a:ext cx="11753624" cy="869148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43422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2243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80192" y="0"/>
            <a:ext cx="13702222" cy="137160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8FF146-17DE-8E07-D181-BAC4F79EF623}"/>
              </a:ext>
            </a:extLst>
          </p:cNvPr>
          <p:cNvSpPr txBox="1"/>
          <p:nvPr userDrawn="1"/>
        </p:nvSpPr>
        <p:spPr>
          <a:xfrm>
            <a:off x="571207" y="3783013"/>
            <a:ext cx="7877441" cy="1329595"/>
          </a:xfrm>
          <a:prstGeom prst="rect">
            <a:avLst/>
          </a:prstGeom>
        </p:spPr>
        <p:txBody>
          <a:bodyPr vert="horz" wrap="square" lIns="0" tIns="0" rIns="144000" bIns="0" rtlCol="0" anchor="t">
            <a:spAutoFit/>
          </a:bodyPr>
          <a:lstStyle>
            <a:lvl1pPr defTabSz="1828326">
              <a:lnSpc>
                <a:spcPct val="90000"/>
              </a:lnSpc>
              <a:spcBef>
                <a:spcPct val="0"/>
              </a:spcBef>
              <a:buNone/>
              <a:defRPr lang="en-AU" sz="4000" b="1" i="0" cap="all" spc="-200" baseline="0" dirty="0">
                <a:latin typeface="+mj-lt"/>
                <a:ea typeface="+mj-ea"/>
                <a:cs typeface="+mj-cs"/>
              </a:defRPr>
            </a:lvl1pPr>
          </a:lstStyle>
          <a:p>
            <a:pPr lvl="0" algn="l" defTabSz="1828326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AU" sz="9600" b="1" i="0" kern="1200" cap="all" spc="-20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6608A94-2FFC-0BD2-8A4E-FBFE41CAC7B2}"/>
              </a:ext>
            </a:extLst>
          </p:cNvPr>
          <p:cNvCxnSpPr>
            <a:cxnSpLocks/>
          </p:cNvCxnSpPr>
          <p:nvPr userDrawn="1"/>
        </p:nvCxnSpPr>
        <p:spPr>
          <a:xfrm>
            <a:off x="559013" y="6940423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E3682A6B-CF08-22F8-333F-D85F5FF20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9013" y="6940422"/>
            <a:ext cx="6238799" cy="587441"/>
          </a:xfrm>
        </p:spPr>
        <p:txBody>
          <a:bodyPr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1" kern="1200" cap="all" baseline="0" dirty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FIRSTNAME LASTNAME</a:t>
            </a:r>
            <a:endParaRPr lang="en-AU" dirty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0C904AF6-F1F5-5540-517B-64568A3BEC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7461" y="7547741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kern="1200" cap="all" baseline="0" dirty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TEAM NAME</a:t>
            </a:r>
            <a:endParaRPr lang="en-AU" dirty="0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B67AC156-EBA2-0085-38A1-66A3F0F60E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7460" y="8278789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i="0" kern="1200" cap="none" baseline="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rPr lang="en-US" sz="2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ail@email.gov.au</a:t>
            </a: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D1D02956-4F0B-A391-4756-E9A53415F8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7460" y="8809510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02) 0000 0000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9CAC22CD-E481-82BE-3299-9925EFCFE9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7460" y="9340231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+61 000 000 000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AFD3EE5F-FB3E-71F6-79DC-F4AB779864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460" y="9870951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00 Name St, Suburb, NSW 0000</a:t>
            </a:r>
          </a:p>
        </p:txBody>
      </p:sp>
    </p:spTree>
    <p:extLst>
      <p:ext uri="{BB962C8B-B14F-4D97-AF65-F5344CB8AC3E}">
        <p14:creationId xmlns:p14="http://schemas.microsoft.com/office/powerpoint/2010/main" val="3618833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117321-3BD6-3D34-1821-CBBE5B2F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55001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117321-3BD6-3D34-1821-CBBE5B2F2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4212ED-E598-1569-5BD4-B685B5536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617" y="5547895"/>
            <a:ext cx="10040400" cy="2659190"/>
          </a:xfrm>
        </p:spPr>
        <p:txBody>
          <a:bodyPr vert="horz" anchor="b">
            <a:noAutofit/>
          </a:bodyPr>
          <a:lstStyle>
            <a:lvl1pPr algn="l">
              <a:defRPr sz="8000" spc="-500" baseline="0"/>
            </a:lvl1pPr>
          </a:lstStyle>
          <a:p>
            <a:r>
              <a:rPr lang="en-GB" dirty="0"/>
              <a:t>PRESENTATION TITLE HERE</a:t>
            </a:r>
            <a:endParaRPr lang="en-A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5E20138-3131-FBD4-FCF5-D103D539C5C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46638" y="576263"/>
            <a:ext cx="3840480" cy="79248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B8C3335-DC73-825E-90EF-CE5B2BB5C1D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97643" y="576001"/>
            <a:ext cx="12644164" cy="12602979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614AD65-5A36-368E-FEF4-950A4E8CD2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967" y="12779639"/>
            <a:ext cx="5800477" cy="442035"/>
          </a:xfrm>
        </p:spPr>
        <p:txBody>
          <a:bodyPr tIns="72000" anchor="b" anchorCtr="0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en-GB" dirty="0"/>
              <a:t>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56252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117321-3BD6-3D34-1821-CBBE5B2F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6932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117321-3BD6-3D34-1821-CBBE5B2F2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B1DE2CA-7723-A121-99C8-FCD8A672E4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03443" y="569404"/>
            <a:ext cx="12625353" cy="1260157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6DBF6A8-DA90-FBCB-9307-CE03BA8FD27F}"/>
              </a:ext>
            </a:extLst>
          </p:cNvPr>
          <p:cNvSpPr/>
          <p:nvPr userDrawn="1"/>
        </p:nvSpPr>
        <p:spPr>
          <a:xfrm>
            <a:off x="11069053" y="481263"/>
            <a:ext cx="2163739" cy="2167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8D1DEC-D92B-459A-A0B2-D0F582B8EA08}"/>
              </a:ext>
            </a:extLst>
          </p:cNvPr>
          <p:cNvSpPr/>
          <p:nvPr userDrawn="1"/>
        </p:nvSpPr>
        <p:spPr>
          <a:xfrm>
            <a:off x="13288097" y="9021501"/>
            <a:ext cx="4212000" cy="4237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1C23E5-909D-BCF9-DFF4-7151A3416BB3}"/>
              </a:ext>
            </a:extLst>
          </p:cNvPr>
          <p:cNvSpPr/>
          <p:nvPr userDrawn="1"/>
        </p:nvSpPr>
        <p:spPr>
          <a:xfrm>
            <a:off x="17582148" y="417095"/>
            <a:ext cx="6259659" cy="6440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5F7D8451-2757-7D8C-F457-CFD335DF12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1202708" y="576000"/>
            <a:ext cx="1998000" cy="20088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 dirty="0"/>
            </a:lvl1pPr>
          </a:lstStyle>
          <a:p>
            <a:pPr lvl="0"/>
            <a:r>
              <a:rPr lang="en-AU" dirty="0"/>
              <a:t>Click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4212ED-E598-1569-5BD4-B685B5536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617" y="5547895"/>
            <a:ext cx="10040400" cy="2659190"/>
          </a:xfrm>
        </p:spPr>
        <p:txBody>
          <a:bodyPr vert="horz" anchor="b">
            <a:noAutofit/>
          </a:bodyPr>
          <a:lstStyle>
            <a:lvl1pPr algn="l">
              <a:defRPr sz="8000" spc="-500" baseline="0"/>
            </a:lvl1pPr>
          </a:lstStyle>
          <a:p>
            <a:r>
              <a:rPr lang="en-GB" dirty="0"/>
              <a:t>PRESENTATION TITLE HERE</a:t>
            </a:r>
            <a:endParaRPr lang="en-AU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B082B78-F9AB-C8D0-104E-F6628BEC28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46638" y="576263"/>
            <a:ext cx="3840480" cy="792480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972998B-E263-7B18-4D55-9BE5250356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8967" y="12779639"/>
            <a:ext cx="5800477" cy="442035"/>
          </a:xfrm>
        </p:spPr>
        <p:txBody>
          <a:bodyPr tIns="72000" anchor="b" anchorCtr="0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en-GB" dirty="0"/>
              <a:t>DAY MONTH YEAR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73ED566-AD86-B779-830B-D89B3EF7346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599407" y="575999"/>
            <a:ext cx="6242400" cy="62280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 dirty="0"/>
            </a:lvl1pPr>
          </a:lstStyle>
          <a:p>
            <a:pPr lvl="0"/>
            <a:r>
              <a:rPr lang="en-AU" dirty="0"/>
              <a:t>Click icon to add imag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7DB964D2-E98A-CD24-F7BF-CBFF66B479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349235" y="9064196"/>
            <a:ext cx="4111200" cy="40932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 dirty="0"/>
            </a:lvl1pPr>
          </a:lstStyle>
          <a:p>
            <a:pPr lvl="0"/>
            <a:r>
              <a:rPr lang="en-AU" dirty="0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3943908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8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844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3578DBC-8E3C-EB8B-2A50-83BB249A2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70108" y="3826066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2C6351-1C40-B3E2-F0A0-4DF98759F8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218862" y="3826066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34742AF0-4291-BCF5-7F9C-50A46A1B92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70108" y="4915585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85725956-DB57-8B7F-CA7A-47A0F4C1C4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218862" y="4915585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AD63B3D-0EF1-89AD-8EA9-4A634E1E69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370108" y="6005104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57AD58CE-4465-ECF0-88E9-D3F22671AE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218862" y="6005104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E6A1A06A-54E3-6578-2243-3CD1AFFB6E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370108" y="7094623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EA522EF-7EE3-210A-4893-1232B604581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218862" y="7094623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70CB4D5-9896-6E07-B8F5-0358D6E92B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70108" y="8184142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899815AD-59A7-1916-1386-77CA216965F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218862" y="8184142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995129C-5FEB-5B1B-579A-8DC34DCF7B7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370108" y="9273661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FC739C1-A0CC-6842-9CC5-20DA5160D45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218862" y="9273661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9253505D-8FE9-7E51-2B14-4E8E91272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370108" y="10363180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5BB2FBF5-978C-E84D-7CFE-5B0B4DEBEA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18862" y="10363180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81DE47E-660A-7FAB-F2C4-DDB4D6C42C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70108" y="11452697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D7DA6B77-0199-CFFD-CC9F-3DD5A510F81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218862" y="11452697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223FD78-FC57-434D-2082-FE2E8367A122}"/>
              </a:ext>
            </a:extLst>
          </p:cNvPr>
          <p:cNvSpPr txBox="1"/>
          <p:nvPr userDrawn="1"/>
        </p:nvSpPr>
        <p:spPr>
          <a:xfrm>
            <a:off x="571207" y="3826066"/>
            <a:ext cx="2008435" cy="553998"/>
          </a:xfrm>
          <a:prstGeom prst="rect">
            <a:avLst/>
          </a:prstGeom>
        </p:spPr>
        <p:txBody>
          <a:bodyPr vert="horz" lIns="0" tIns="0" rIns="144000" bIns="0" rtlCol="0" anchor="t">
            <a:spAutoFit/>
          </a:bodyPr>
          <a:lstStyle>
            <a:lvl1pPr defTabSz="1828326">
              <a:lnSpc>
                <a:spcPct val="90000"/>
              </a:lnSpc>
              <a:spcBef>
                <a:spcPct val="0"/>
              </a:spcBef>
              <a:buNone/>
              <a:defRPr lang="en-AU" sz="4000" b="1" i="0" cap="all" spc="-20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AU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8768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885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CABC038-B59B-C2E4-BC39-E1714AD4CF7E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rgbClr val="F1E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3348A28-22E3-F491-B777-62F8CCF533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70108" y="3826066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123E2202-45FE-B5B4-550C-72D840006F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218862" y="3826066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E3E30D2-1110-914B-7FF6-F09BB91855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70108" y="4915585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0118BB7-F5ED-371F-D24E-96C876EB96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218862" y="4915585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45C0364-3853-2EFC-DE6E-D258DD3B076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370108" y="6005104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4C7E475-6E1B-81D3-9F9E-99D13A6584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218862" y="6005104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694AD58-ECDC-CC2D-9096-D06BF1EAB8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370108" y="7094623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23DAB50-6408-A9E4-7A4D-DBB9BD4DD9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218862" y="7094623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626DBFB-DA99-B6B6-11D6-99FF6D0B9B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70108" y="8184142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F1F8012-0911-F563-FDAD-ED5C3F79054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218862" y="8184142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DC909F3-8F25-C46A-0CB3-E0B86B469C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370108" y="9273661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7C1254E-8384-0877-65DC-E130B92466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218862" y="9273661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C8EA2816-87ED-5918-458D-2915B3D4CE8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370108" y="10363180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A3C34D9A-8CB2-53B5-8F73-1F4654B142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18862" y="10363180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84775C08-5FFA-1978-4F6C-9069830127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70108" y="11452697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ABC7DC1-B3E0-89E5-2D4A-9241E18C088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218862" y="11452697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2340FCD-3C87-205F-BAB5-75B593A2E50F}"/>
              </a:ext>
            </a:extLst>
          </p:cNvPr>
          <p:cNvSpPr txBox="1"/>
          <p:nvPr userDrawn="1"/>
        </p:nvSpPr>
        <p:spPr>
          <a:xfrm>
            <a:off x="571207" y="3826066"/>
            <a:ext cx="2008435" cy="553998"/>
          </a:xfrm>
          <a:prstGeom prst="rect">
            <a:avLst/>
          </a:prstGeom>
        </p:spPr>
        <p:txBody>
          <a:bodyPr vert="horz" lIns="0" tIns="0" rIns="144000" bIns="0" rtlCol="0" anchor="t">
            <a:spAutoFit/>
          </a:bodyPr>
          <a:lstStyle>
            <a:lvl1pPr defTabSz="1828326">
              <a:lnSpc>
                <a:spcPct val="90000"/>
              </a:lnSpc>
              <a:spcBef>
                <a:spcPct val="0"/>
              </a:spcBef>
              <a:buNone/>
              <a:defRPr lang="en-AU" sz="4000" b="1" i="0" cap="all" spc="-20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AU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32297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4638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783013"/>
            <a:ext cx="10020593" cy="1329595"/>
          </a:xfrm>
        </p:spPr>
        <p:txBody>
          <a:bodyPr vert="horz">
            <a:noAutofit/>
          </a:bodyPr>
          <a:lstStyle>
            <a:lvl1pPr>
              <a:defRPr sz="9600"/>
            </a:lvl1pPr>
          </a:lstStyle>
          <a:p>
            <a:r>
              <a:rPr lang="en-GB" dirty="0"/>
              <a:t>SECTION NAM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E2ACE55-4AF0-D869-E259-EAA1EE18C694}"/>
              </a:ext>
            </a:extLst>
          </p:cNvPr>
          <p:cNvCxnSpPr>
            <a:cxnSpLocks/>
          </p:cNvCxnSpPr>
          <p:nvPr userDrawn="1"/>
        </p:nvCxnSpPr>
        <p:spPr>
          <a:xfrm>
            <a:off x="4834446" y="10061575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40403147-AFCF-0CF1-9FBB-FA514CAB4F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41096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3549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963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05E36D57-C112-CDCA-FED8-69E5F75EDD2E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rgbClr val="F15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783013"/>
            <a:ext cx="10020593" cy="1329595"/>
          </a:xfrm>
        </p:spPr>
        <p:txBody>
          <a:bodyPr vert="horz">
            <a:noAutofit/>
          </a:bodyPr>
          <a:lstStyle>
            <a:lvl1pPr>
              <a:defRPr sz="9600"/>
            </a:lvl1pPr>
          </a:lstStyle>
          <a:p>
            <a:r>
              <a:rPr lang="en-GB" dirty="0"/>
              <a:t>SECTION NAM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03564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117321-3BD6-3D34-1821-CBBE5B2F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0180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117321-3BD6-3D34-1821-CBBE5B2F2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4212ED-E598-1569-5BD4-B685B5536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617" y="5547895"/>
            <a:ext cx="10040400" cy="2659190"/>
          </a:xfrm>
        </p:spPr>
        <p:txBody>
          <a:bodyPr vert="horz" anchor="b">
            <a:noAutofit/>
          </a:bodyPr>
          <a:lstStyle>
            <a:lvl1pPr algn="l">
              <a:defRPr sz="8000" spc="-500" baseline="0"/>
            </a:lvl1pPr>
          </a:lstStyle>
          <a:p>
            <a:r>
              <a:rPr lang="en-GB" dirty="0"/>
              <a:t>PRESENTATION TITLE HERE</a:t>
            </a:r>
            <a:endParaRPr lang="en-AU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B8C3335-DC73-825E-90EF-CE5B2BB5C1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97643" y="576001"/>
            <a:ext cx="12644164" cy="12602979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0F458B7-DF47-4D41-4772-CEFDF29CF5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967" y="12779639"/>
            <a:ext cx="5800477" cy="442035"/>
          </a:xfrm>
        </p:spPr>
        <p:txBody>
          <a:bodyPr tIns="72000" anchor="b" anchorCtr="0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en-GB" dirty="0"/>
              <a:t>DAY MONTH YEAR</a:t>
            </a:r>
          </a:p>
        </p:txBody>
      </p:sp>
      <p:pic>
        <p:nvPicPr>
          <p:cNvPr id="11" name="Picture 10" descr="Blue text on a black background&#10;&#10;Description automatically generated">
            <a:extLst>
              <a:ext uri="{FF2B5EF4-FFF2-40B4-BE49-F238E27FC236}">
                <a16:creationId xmlns:a16="http://schemas.microsoft.com/office/drawing/2014/main" id="{F5DA3289-1FFF-B6D0-87CB-C5D8EC01D3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848440" y="576001"/>
            <a:ext cx="3605063" cy="7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367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72735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05E36D57-C112-CDCA-FED8-69E5F75EDD2E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783013"/>
            <a:ext cx="10020593" cy="1329595"/>
          </a:xfrm>
        </p:spPr>
        <p:txBody>
          <a:bodyPr vert="horz">
            <a:noAutofit/>
          </a:bodyPr>
          <a:lstStyle>
            <a:lvl1pPr>
              <a:defRPr sz="9600"/>
            </a:lvl1pPr>
          </a:lstStyle>
          <a:p>
            <a:r>
              <a:rPr lang="en-GB" dirty="0"/>
              <a:t>SECTION NAM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48667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image + cap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8222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E2ACE55-4AF0-D869-E259-EAA1EE18C694}"/>
              </a:ext>
            </a:extLst>
          </p:cNvPr>
          <p:cNvCxnSpPr>
            <a:cxnSpLocks/>
          </p:cNvCxnSpPr>
          <p:nvPr userDrawn="1"/>
        </p:nvCxnSpPr>
        <p:spPr>
          <a:xfrm>
            <a:off x="4834446" y="10061575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8013F2DD-A238-D6DA-CEB9-B36CC64ED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41096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7708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image + capti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5600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3BCBCB9-AD03-2CF7-1A9B-D3FD21FC4C63}"/>
              </a:ext>
            </a:extLst>
          </p:cNvPr>
          <p:cNvSpPr/>
          <p:nvPr userDrawn="1"/>
        </p:nvSpPr>
        <p:spPr>
          <a:xfrm>
            <a:off x="4702174" y="0"/>
            <a:ext cx="19680239" cy="13716000"/>
          </a:xfrm>
          <a:prstGeom prst="rect">
            <a:avLst/>
          </a:prstGeom>
          <a:solidFill>
            <a:srgbClr val="9FB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8013F2DD-A238-D6DA-CEB9-B36CC64ED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13684" y="10061575"/>
            <a:ext cx="5853600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6074E21-9C07-4D8B-1A87-C7B53FF8D158}"/>
              </a:ext>
            </a:extLst>
          </p:cNvPr>
          <p:cNvCxnSpPr>
            <a:cxnSpLocks/>
          </p:cNvCxnSpPr>
          <p:nvPr userDrawn="1"/>
        </p:nvCxnSpPr>
        <p:spPr>
          <a:xfrm>
            <a:off x="5213684" y="10061575"/>
            <a:ext cx="58536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814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larg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74237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1F5D9BA-9A1B-D044-2749-5F170FC224AE}"/>
              </a:ext>
            </a:extLst>
          </p:cNvPr>
          <p:cNvSpPr/>
          <p:nvPr userDrawn="1"/>
        </p:nvSpPr>
        <p:spPr>
          <a:xfrm>
            <a:off x="4702174" y="0"/>
            <a:ext cx="19680239" cy="13716000"/>
          </a:xfrm>
          <a:prstGeom prst="rect">
            <a:avLst/>
          </a:prstGeom>
          <a:solidFill>
            <a:srgbClr val="F15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66944" y="564942"/>
            <a:ext cx="18553494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9328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large imag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5072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1F5D9BA-9A1B-D044-2749-5F170FC224AE}"/>
              </a:ext>
            </a:extLst>
          </p:cNvPr>
          <p:cNvSpPr/>
          <p:nvPr userDrawn="1"/>
        </p:nvSpPr>
        <p:spPr>
          <a:xfrm>
            <a:off x="4702174" y="0"/>
            <a:ext cx="19680239" cy="137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266944" y="564942"/>
            <a:ext cx="18553494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4463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3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1755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1">
            <a:extLst>
              <a:ext uri="{FF2B5EF4-FFF2-40B4-BE49-F238E27FC236}">
                <a16:creationId xmlns:a16="http://schemas.microsoft.com/office/drawing/2014/main" id="{E6B72CE2-CD13-DDC6-9D51-89F5D580C4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50448" y="3797301"/>
            <a:ext cx="6220118" cy="61214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17" name="Picture Placeholder 21">
            <a:extLst>
              <a:ext uri="{FF2B5EF4-FFF2-40B4-BE49-F238E27FC236}">
                <a16:creationId xmlns:a16="http://schemas.microsoft.com/office/drawing/2014/main" id="{D4E974C3-8951-0AFA-81E2-C85E4E426F4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226864" y="3797301"/>
            <a:ext cx="6220118" cy="61214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18" name="Picture Placeholder 21">
            <a:extLst>
              <a:ext uri="{FF2B5EF4-FFF2-40B4-BE49-F238E27FC236}">
                <a16:creationId xmlns:a16="http://schemas.microsoft.com/office/drawing/2014/main" id="{A6E05FAE-CCB8-D812-BCE6-D01F114E089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591088" y="3797301"/>
            <a:ext cx="6220118" cy="61214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12662D-A1D1-0C71-C338-5337062A76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81C1EA4-6EA5-50A1-4331-841C1F852191}"/>
              </a:ext>
            </a:extLst>
          </p:cNvPr>
          <p:cNvCxnSpPr>
            <a:cxnSpLocks/>
          </p:cNvCxnSpPr>
          <p:nvPr userDrawn="1"/>
        </p:nvCxnSpPr>
        <p:spPr>
          <a:xfrm>
            <a:off x="17599470" y="10087437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3F1E8C-C315-034A-FAE9-237D808051AC}"/>
              </a:ext>
            </a:extLst>
          </p:cNvPr>
          <p:cNvCxnSpPr>
            <a:cxnSpLocks/>
          </p:cNvCxnSpPr>
          <p:nvPr userDrawn="1"/>
        </p:nvCxnSpPr>
        <p:spPr>
          <a:xfrm>
            <a:off x="11235246" y="10087437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0A2370-4CEB-CBDD-2D71-5BE258B2D297}"/>
              </a:ext>
            </a:extLst>
          </p:cNvPr>
          <p:cNvCxnSpPr>
            <a:cxnSpLocks/>
          </p:cNvCxnSpPr>
          <p:nvPr userDrawn="1"/>
        </p:nvCxnSpPr>
        <p:spPr>
          <a:xfrm>
            <a:off x="4858830" y="10087437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30C2D43-EF75-CF45-4053-F0282BC231A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1096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573B9140-A2D8-5A13-3C77-98C3191532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225870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31615C09-9FE5-2A0C-8E0B-81B9F23CCED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7606120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258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187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FBFA785-B7DE-9128-2C6B-3F39F5759816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rgbClr val="F1E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>
            <a:lvl1pPr>
              <a:defRPr sz="3300"/>
            </a:lvl1pPr>
          </a:lstStyle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B10892A-34BD-FE14-928D-6EF70E01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24800" y="3819599"/>
            <a:ext cx="12592799" cy="8691488"/>
          </a:xfrm>
          <a:prstGeom prst="rect">
            <a:avLst/>
          </a:prstGeom>
        </p:spPr>
        <p:txBody>
          <a:bodyPr lIns="0" tIns="21600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055631-DE59-3DB3-A795-52E860BA85A3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3819271"/>
            <a:ext cx="1260957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449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  <p15:guide id="2" pos="767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928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FBFA785-B7DE-9128-2C6B-3F39F5759816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B10892A-34BD-FE14-928D-6EF70E01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24800" y="3819599"/>
            <a:ext cx="12592799" cy="8294603"/>
          </a:xfrm>
          <a:prstGeom prst="rect">
            <a:avLst/>
          </a:prstGeom>
        </p:spPr>
        <p:txBody>
          <a:bodyPr lIns="0" tIns="21600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055631-DE59-3DB3-A795-52E860BA85A3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3819271"/>
            <a:ext cx="1260957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632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2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7925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822C5634-6004-3C88-401E-6A52CB4B6980}"/>
              </a:ext>
            </a:extLst>
          </p:cNvPr>
          <p:cNvSpPr/>
          <p:nvPr userDrawn="1"/>
        </p:nvSpPr>
        <p:spPr>
          <a:xfrm>
            <a:off x="4702174" y="0"/>
            <a:ext cx="19680239" cy="13716000"/>
          </a:xfrm>
          <a:prstGeom prst="rect">
            <a:avLst/>
          </a:prstGeom>
          <a:solidFill>
            <a:srgbClr val="F1E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D16B15B-5263-4719-968A-3D354819B75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85232" y="557212"/>
            <a:ext cx="12160800" cy="5893824"/>
          </a:xfrm>
          <a:solidFill>
            <a:schemeClr val="bg1">
              <a:lumMod val="95000"/>
            </a:schemeClr>
          </a:solidFill>
        </p:spPr>
        <p:txBody>
          <a:bodyPr tIns="0">
            <a:normAutofit/>
          </a:bodyPr>
          <a:lstStyle>
            <a:lvl1pPr>
              <a:defRPr sz="2000"/>
            </a:lvl1pPr>
          </a:lstStyle>
          <a:p>
            <a:r>
              <a:rPr lang="en-AU" dirty="0"/>
              <a:t>Click icon to add imag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90645BCE-AED9-2B08-C027-7AEF1E5CDF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85232" y="6617264"/>
            <a:ext cx="12160800" cy="5893824"/>
          </a:xfrm>
          <a:solidFill>
            <a:schemeClr val="bg1">
              <a:lumMod val="95000"/>
            </a:schemeClr>
          </a:solidFill>
        </p:spPr>
        <p:txBody>
          <a:bodyPr tIns="0">
            <a:normAutofit/>
          </a:bodyPr>
          <a:lstStyle>
            <a:lvl1pPr>
              <a:defRPr sz="2000"/>
            </a:lvl1pPr>
          </a:lstStyle>
          <a:p>
            <a:r>
              <a:rPr lang="en-AU" dirty="0"/>
              <a:t>Click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EB255F5-0C0E-67ED-D5B1-66DDF9AD65D5}"/>
              </a:ext>
            </a:extLst>
          </p:cNvPr>
          <p:cNvCxnSpPr>
            <a:cxnSpLocks/>
          </p:cNvCxnSpPr>
          <p:nvPr userDrawn="1"/>
        </p:nvCxnSpPr>
        <p:spPr>
          <a:xfrm>
            <a:off x="17596487" y="6617258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7AA2DF0-30E2-82F6-9042-60223D3FF5BF}"/>
              </a:ext>
            </a:extLst>
          </p:cNvPr>
          <p:cNvCxnSpPr>
            <a:cxnSpLocks/>
          </p:cNvCxnSpPr>
          <p:nvPr userDrawn="1"/>
        </p:nvCxnSpPr>
        <p:spPr>
          <a:xfrm>
            <a:off x="17596487" y="557214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A125F0FC-0F97-A6AE-7074-48D5CDD4B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596487" y="557214"/>
            <a:ext cx="6221112" cy="5893825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B7E965DB-B715-9008-25CF-E47EB107D3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96487" y="6617258"/>
            <a:ext cx="6221112" cy="5893200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8316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6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033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828193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6F694BA-2082-EBE9-A9A4-5C19385311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4446" y="3817276"/>
            <a:ext cx="6238799" cy="2425129"/>
          </a:xfrm>
        </p:spPr>
        <p:txBody>
          <a:bodyPr rIns="144000">
            <a:no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DB70B91A-6FDB-B867-8937-C350C641D0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4446" y="6940423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F6820231-789C-53E9-99A6-A714A9FBEA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34446" y="10085959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27FBCFF6-C9B5-89BC-E111-2D8CE4B44B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10862" y="3817276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18843067-69C5-F418-D006-2A1FEC9E46F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210862" y="6940423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FB966FB3-2DEC-9282-0C5B-0C034F72EA3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210862" y="10085959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4FB61D95-F478-4BFF-597B-B60EFF07105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7599470" y="3817276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610B9186-CA6B-F196-C4D7-AD0B5455810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7599470" y="6940423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D9945532-6C3C-BC72-98A1-3ABAEECBB8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7599470" y="10085959"/>
            <a:ext cx="6238799" cy="2425129"/>
          </a:xfrm>
        </p:spPr>
        <p:txBody>
          <a:bodyPr vert="horz" lIns="0" tIns="216000" rIns="144000" bIns="0" rtlCol="0">
            <a:noAutofit/>
          </a:bodyPr>
          <a:lstStyle>
            <a:lvl1pPr>
              <a:defRPr lang="en-GB" sz="2400" dirty="0" smtClean="0"/>
            </a:lvl1pPr>
            <a:lvl2pPr>
              <a:defRPr lang="en-GB" sz="2400" dirty="0" smtClean="0"/>
            </a:lvl2pPr>
            <a:lvl3pPr>
              <a:defRPr lang="en-GB" sz="2400" dirty="0" smtClean="0"/>
            </a:lvl3pPr>
            <a:lvl4pPr>
              <a:defRPr lang="en-GB" sz="2400" dirty="0" smtClean="0"/>
            </a:lvl4pPr>
            <a:lvl5pPr>
              <a:defRPr lang="en-AU" sz="2400" dirty="0"/>
            </a:lvl5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1">
              <a:spcAft>
                <a:spcPts val="0"/>
              </a:spcAft>
            </a:pPr>
            <a:r>
              <a:rPr lang="en-US"/>
              <a:t>Second level</a:t>
            </a:r>
          </a:p>
          <a:p>
            <a:pPr lvl="2">
              <a:spcAft>
                <a:spcPts val="0"/>
              </a:spcAft>
            </a:pPr>
            <a:r>
              <a:rPr lang="en-US"/>
              <a:t>Third level</a:t>
            </a:r>
          </a:p>
          <a:p>
            <a:pPr lvl="3">
              <a:spcAft>
                <a:spcPts val="0"/>
              </a:spcAft>
            </a:pPr>
            <a:r>
              <a:rPr lang="en-US"/>
              <a:t>Fourth level</a:t>
            </a:r>
          </a:p>
          <a:p>
            <a:pPr lvl="4">
              <a:spcAft>
                <a:spcPts val="0"/>
              </a:spcAft>
            </a:pPr>
            <a:r>
              <a:rPr lang="en-US"/>
              <a:t>Fifth level</a:t>
            </a:r>
            <a:endParaRPr lang="en-AU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65B99FE-BC9B-B4FE-5F05-96938A0302DF}"/>
              </a:ext>
            </a:extLst>
          </p:cNvPr>
          <p:cNvCxnSpPr>
            <a:cxnSpLocks/>
          </p:cNvCxnSpPr>
          <p:nvPr userDrawn="1"/>
        </p:nvCxnSpPr>
        <p:spPr>
          <a:xfrm>
            <a:off x="4834446" y="6940423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1EEBC2B-17CE-EE3E-9D3E-33997D8D5AF1}"/>
              </a:ext>
            </a:extLst>
          </p:cNvPr>
          <p:cNvCxnSpPr>
            <a:cxnSpLocks/>
          </p:cNvCxnSpPr>
          <p:nvPr userDrawn="1"/>
        </p:nvCxnSpPr>
        <p:spPr>
          <a:xfrm>
            <a:off x="4834446" y="10085959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D7BD97B-E23A-1FD0-B160-876B55BF8E76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6940423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358ED72-7134-0681-6DEB-D8104438BE68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10085959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796F9F9-B563-7609-67A9-D910A7A9712C}"/>
              </a:ext>
            </a:extLst>
          </p:cNvPr>
          <p:cNvCxnSpPr>
            <a:cxnSpLocks/>
          </p:cNvCxnSpPr>
          <p:nvPr userDrawn="1"/>
        </p:nvCxnSpPr>
        <p:spPr>
          <a:xfrm>
            <a:off x="17599470" y="6940423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FC40D3B-5A07-D42A-CF72-179D252F2D37}"/>
              </a:ext>
            </a:extLst>
          </p:cNvPr>
          <p:cNvCxnSpPr>
            <a:cxnSpLocks/>
          </p:cNvCxnSpPr>
          <p:nvPr userDrawn="1"/>
        </p:nvCxnSpPr>
        <p:spPr>
          <a:xfrm>
            <a:off x="17599470" y="10085959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E5451FC-FACD-9E6F-07CB-19BB536FC981}"/>
              </a:ext>
            </a:extLst>
          </p:cNvPr>
          <p:cNvCxnSpPr>
            <a:cxnSpLocks/>
          </p:cNvCxnSpPr>
          <p:nvPr userDrawn="1"/>
        </p:nvCxnSpPr>
        <p:spPr>
          <a:xfrm>
            <a:off x="4834446" y="3817277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20FE67D-5ED3-56C2-1D29-070020F52FDD}"/>
              </a:ext>
            </a:extLst>
          </p:cNvPr>
          <p:cNvCxnSpPr>
            <a:cxnSpLocks/>
          </p:cNvCxnSpPr>
          <p:nvPr userDrawn="1"/>
        </p:nvCxnSpPr>
        <p:spPr>
          <a:xfrm>
            <a:off x="11210862" y="3817277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D241E83-BBF6-E55B-483E-B3360C7BC807}"/>
              </a:ext>
            </a:extLst>
          </p:cNvPr>
          <p:cNvCxnSpPr>
            <a:cxnSpLocks/>
          </p:cNvCxnSpPr>
          <p:nvPr userDrawn="1"/>
        </p:nvCxnSpPr>
        <p:spPr>
          <a:xfrm>
            <a:off x="17599470" y="3817277"/>
            <a:ext cx="623879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5169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117321-3BD6-3D34-1821-CBBE5B2F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9184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117321-3BD6-3D34-1821-CBBE5B2F2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B1DE2CA-7723-A121-99C8-FCD8A672E4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03443" y="569404"/>
            <a:ext cx="12625353" cy="126015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34212ED-E598-1569-5BD4-B685B5536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617" y="5547895"/>
            <a:ext cx="10040400" cy="2659190"/>
          </a:xfrm>
        </p:spPr>
        <p:txBody>
          <a:bodyPr vert="horz" anchor="b">
            <a:noAutofit/>
          </a:bodyPr>
          <a:lstStyle>
            <a:lvl1pPr algn="l">
              <a:defRPr sz="8000" spc="-500" baseline="0"/>
            </a:lvl1pPr>
          </a:lstStyle>
          <a:p>
            <a:r>
              <a:rPr lang="en-GB" dirty="0"/>
              <a:t>PRESENTATION TITLE HERE</a:t>
            </a:r>
            <a:endParaRPr lang="en-AU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DC8F775-4BF9-DE57-71D7-03139C1C191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967" y="12779639"/>
            <a:ext cx="5800477" cy="442035"/>
          </a:xfrm>
        </p:spPr>
        <p:txBody>
          <a:bodyPr tIns="72000" anchor="b" anchorCtr="0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en-GB" dirty="0"/>
              <a:t>DAY MONTH YEAR</a:t>
            </a:r>
          </a:p>
        </p:txBody>
      </p:sp>
      <p:pic>
        <p:nvPicPr>
          <p:cNvPr id="4" name="Picture 3" descr="Blue text on a black background&#10;&#10;Description automatically generated">
            <a:extLst>
              <a:ext uri="{FF2B5EF4-FFF2-40B4-BE49-F238E27FC236}">
                <a16:creationId xmlns:a16="http://schemas.microsoft.com/office/drawing/2014/main" id="{3A92E408-30F7-7717-26EE-293C7FBFB16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846638" y="576001"/>
            <a:ext cx="3605063" cy="7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45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0827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4A243F3-142E-6B28-79C9-33E9B3C05B9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25314" y="3819600"/>
            <a:ext cx="18295124" cy="869148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21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4144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826066"/>
            <a:ext cx="4121999" cy="1218795"/>
          </a:xfrm>
        </p:spPr>
        <p:txBody>
          <a:bodyPr vert="horz"/>
          <a:lstStyle/>
          <a:p>
            <a:r>
              <a:rPr lang="en-GB" dirty="0"/>
              <a:t>SLIDE TITLE HER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CA4D2D7-2F84-C0F8-8C0B-B9837E0A1C75}"/>
              </a:ext>
            </a:extLst>
          </p:cNvPr>
          <p:cNvCxnSpPr>
            <a:cxnSpLocks/>
          </p:cNvCxnSpPr>
          <p:nvPr userDrawn="1"/>
        </p:nvCxnSpPr>
        <p:spPr>
          <a:xfrm>
            <a:off x="5525314" y="3826067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ECEB4FDD-F20F-8CD4-B488-6D7E1A5C18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25314" y="3826067"/>
            <a:ext cx="6221112" cy="8685017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 marL="342900" indent="-342900" algn="l" defTabSz="1828326" rtl="0" eaLnBrk="1" latinLnBrk="0" hangingPunct="1">
              <a:spcAft>
                <a:spcPts val="1000"/>
              </a:spcAft>
              <a:buFont typeface="Arial" panose="020B0604020202020204" pitchFamily="34" charset="0"/>
              <a:buChar char="•"/>
              <a:defRPr lang="en-GB" sz="24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74688" indent="-354013">
              <a:spcAft>
                <a:spcPts val="0"/>
              </a:spcAft>
              <a:tabLst/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E93B92F4-8347-F27A-5D04-95844E68C4D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066814" y="3819600"/>
            <a:ext cx="11753624" cy="869148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65562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2243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80192" y="0"/>
            <a:ext cx="13702222" cy="137160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8FF146-17DE-8E07-D181-BAC4F79EF623}"/>
              </a:ext>
            </a:extLst>
          </p:cNvPr>
          <p:cNvSpPr txBox="1"/>
          <p:nvPr userDrawn="1"/>
        </p:nvSpPr>
        <p:spPr>
          <a:xfrm>
            <a:off x="571207" y="3783013"/>
            <a:ext cx="7877441" cy="1329595"/>
          </a:xfrm>
          <a:prstGeom prst="rect">
            <a:avLst/>
          </a:prstGeom>
        </p:spPr>
        <p:txBody>
          <a:bodyPr vert="horz" wrap="square" lIns="0" tIns="0" rIns="144000" bIns="0" rtlCol="0" anchor="t">
            <a:spAutoFit/>
          </a:bodyPr>
          <a:lstStyle>
            <a:lvl1pPr defTabSz="1828326">
              <a:lnSpc>
                <a:spcPct val="90000"/>
              </a:lnSpc>
              <a:spcBef>
                <a:spcPct val="0"/>
              </a:spcBef>
              <a:buNone/>
              <a:defRPr lang="en-AU" sz="4000" b="1" i="0" cap="all" spc="-200" baseline="0" dirty="0">
                <a:latin typeface="+mj-lt"/>
                <a:ea typeface="+mj-ea"/>
                <a:cs typeface="+mj-cs"/>
              </a:defRPr>
            </a:lvl1pPr>
          </a:lstStyle>
          <a:p>
            <a:pPr lvl="0" algn="l" defTabSz="1828326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AU" sz="9600" b="1" i="0" kern="1200" cap="all" spc="-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6608A94-2FFC-0BD2-8A4E-FBFE41CAC7B2}"/>
              </a:ext>
            </a:extLst>
          </p:cNvPr>
          <p:cNvCxnSpPr>
            <a:cxnSpLocks/>
          </p:cNvCxnSpPr>
          <p:nvPr userDrawn="1"/>
        </p:nvCxnSpPr>
        <p:spPr>
          <a:xfrm>
            <a:off x="559013" y="6940423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E3682A6B-CF08-22F8-333F-D85F5FF20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9013" y="6940422"/>
            <a:ext cx="6238799" cy="587441"/>
          </a:xfrm>
        </p:spPr>
        <p:txBody>
          <a:bodyPr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1" kern="1200" cap="all" baseline="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FIRSTNAME LASTNAME</a:t>
            </a:r>
            <a:endParaRPr lang="en-AU" dirty="0"/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0C904AF6-F1F5-5540-517B-64568A3BEC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7461" y="7547741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kern="1200" cap="all" baseline="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dirty="0"/>
              <a:t>TEAM NAME</a:t>
            </a:r>
            <a:endParaRPr lang="en-AU" dirty="0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B67AC156-EBA2-0085-38A1-66A3F0F60E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7460" y="8278789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kern="1200" cap="none" baseline="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rPr lang="en-US" sz="2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ail@email.gov.au</a:t>
            </a:r>
            <a:endParaRPr lang="en-US" sz="2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D1D02956-4F0B-A391-4756-E9A53415F8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7460" y="8809510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kern="1200" cap="none" baseline="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02) 0000 0000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9CAC22CD-E481-82BE-3299-9925EFCFE9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7460" y="9340231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kern="1200" cap="none" baseline="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+61 000 000 000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AFD3EE5F-FB3E-71F6-79DC-F4AB779864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7460" y="9870951"/>
            <a:ext cx="6238799" cy="369332"/>
          </a:xfrm>
        </p:spPr>
        <p:txBody>
          <a:bodyPr tIns="0" rIns="0">
            <a:spAutoFit/>
          </a:bodyPr>
          <a:lstStyle>
            <a:lvl1pPr marL="0" algn="l" defTabSz="1828709" rtl="0" eaLnBrk="1" latinLnBrk="0" hangingPunct="1">
              <a:spcAft>
                <a:spcPts val="0"/>
              </a:spcAft>
              <a:defRPr lang="en-AU" sz="2400" b="0" kern="1200" cap="none" baseline="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spcAft>
                <a:spcPts val="0"/>
              </a:spcAft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00 Name St, Suburb, NSW 0000</a:t>
            </a:r>
          </a:p>
        </p:txBody>
      </p:sp>
    </p:spTree>
    <p:extLst>
      <p:ext uri="{BB962C8B-B14F-4D97-AF65-F5344CB8AC3E}">
        <p14:creationId xmlns:p14="http://schemas.microsoft.com/office/powerpoint/2010/main" val="915647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F858E-BFFE-C24E-8FFD-18C3ECCD6A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802" y="2244726"/>
            <a:ext cx="18286810" cy="4775200"/>
          </a:xfrm>
        </p:spPr>
        <p:txBody>
          <a:bodyPr anchor="b"/>
          <a:lstStyle>
            <a:lvl1pPr algn="ctr">
              <a:defRPr sz="11999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750354-476C-8351-3512-4174B745EA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802" y="7204076"/>
            <a:ext cx="1828681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A97D73-4F25-E849-B754-5486E6817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6B27B1-E28C-F1C2-B4C6-7EB5598F9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968E2C-A030-D92C-3F31-21657F994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1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429D8-AA5D-0B0A-6F2F-BD2801158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17552F-EB93-B7DA-F9EA-07EF10696F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F7613A-B54A-135B-5980-EEAD59777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F7A3B8-E6C6-06E9-07AA-3EB40FB0A3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9AEF9-3A53-1E3A-43EE-0F45521C4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4179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C816E-FD16-3341-EAC9-0D4F602EC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592" y="3419477"/>
            <a:ext cx="21029831" cy="5705474"/>
          </a:xfrm>
        </p:spPr>
        <p:txBody>
          <a:bodyPr anchor="b"/>
          <a:lstStyle>
            <a:lvl1pPr>
              <a:defRPr sz="11999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93B604-8793-EAF3-7189-587F5A02B5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592" y="9178927"/>
            <a:ext cx="21029831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8950A8-3A8B-7F3D-087B-33BABB1AD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FCBB4D-6DC9-83DC-BFE3-793B4DEC05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9F669C-03F3-23D0-D846-66C178145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0883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18C37-CB17-4F4A-F7C6-B944FDAC39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AE7C15-27E5-D67C-78AF-8114E1EEE3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291" y="3651250"/>
            <a:ext cx="10362526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9F0C3A-7321-2D42-37CB-40CE217249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3596" y="3651250"/>
            <a:ext cx="10362526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6D8D26-BE89-B898-EDA9-8F2E13B4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086C8E-9B68-10E8-DE55-B29C1F2F6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5B7637-AA0E-FA89-242A-58EC3FD91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7274F1-A212-6EAB-7FB6-A79DFE3FB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67" y="730251"/>
            <a:ext cx="21029831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63F1C2-3790-1540-C364-E0DACA81E3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467" y="3362326"/>
            <a:ext cx="10314903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A097EA-88A6-04E5-A385-14077D1C65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467" y="5010150"/>
            <a:ext cx="10314903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7B95AE-8B7E-7E30-666F-8DC09EC290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3597" y="3362326"/>
            <a:ext cx="10365701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557C00-DA90-317E-7915-6D5F604C12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3597" y="5010150"/>
            <a:ext cx="10365701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0C0822-5E54-8B9A-E075-D09F588EC4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44AE4A6-FCB1-BE09-D673-4E6E89D6F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253E30-7177-3DEF-710F-D4BFFEE62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5682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B4DA0-952D-A94B-D594-847F6F0B2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CE92BD-F1E3-FF6B-B7CF-A3EDA4F51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8A75B9-CD86-DAB4-7C54-ADBD7B8CED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0D0907-8368-B31A-9266-6C70C575F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4992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B49680-74B9-0612-A92A-9BA974155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71E438-9D6E-B73E-7B43-278E0F0E6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C01A2-7273-4406-6339-7E2FE12C3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9458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117321-3BD6-3D34-1821-CBBE5B2F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55001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117321-3BD6-3D34-1821-CBBE5B2F2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4212ED-E598-1569-5BD4-B685B5536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617" y="5547895"/>
            <a:ext cx="10040400" cy="2659190"/>
          </a:xfrm>
        </p:spPr>
        <p:txBody>
          <a:bodyPr vert="horz" anchor="b">
            <a:noAutofit/>
          </a:bodyPr>
          <a:lstStyle>
            <a:lvl1pPr algn="l">
              <a:defRPr sz="8000" spc="-500" baseline="0"/>
            </a:lvl1pPr>
          </a:lstStyle>
          <a:p>
            <a:r>
              <a:rPr lang="en-GB" dirty="0"/>
              <a:t>PRESENTATION TITLE HERE</a:t>
            </a:r>
            <a:endParaRPr lang="en-AU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B8C3335-DC73-825E-90EF-CE5B2BB5C1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97643" y="576001"/>
            <a:ext cx="12644164" cy="12602979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614AD65-5A36-368E-FEF4-950A4E8CD2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967" y="12779639"/>
            <a:ext cx="5800477" cy="442035"/>
          </a:xfrm>
        </p:spPr>
        <p:txBody>
          <a:bodyPr tIns="72000" anchor="b" anchorCtr="0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en-GB" dirty="0"/>
              <a:t>DAY MONTH YEAR</a:t>
            </a:r>
          </a:p>
        </p:txBody>
      </p:sp>
      <p:pic>
        <p:nvPicPr>
          <p:cNvPr id="7" name="Picture 6" descr="Blue text on a black background&#10;&#10;Description automatically generated">
            <a:extLst>
              <a:ext uri="{FF2B5EF4-FFF2-40B4-BE49-F238E27FC236}">
                <a16:creationId xmlns:a16="http://schemas.microsoft.com/office/drawing/2014/main" id="{BEC90EFE-B590-C961-09FF-E7C98B264C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846637" y="576000"/>
            <a:ext cx="3565219" cy="786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724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A0264C-26B0-04A6-A5F3-16E5CA621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68" y="914400"/>
            <a:ext cx="7863962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3D3B82-05C2-4243-BE37-386E4DEB5B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5701" y="1974851"/>
            <a:ext cx="12343597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8B8009-90B8-9C9D-72C9-42592E97E7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468" y="4114800"/>
            <a:ext cx="7863962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354" indent="0">
              <a:buNone/>
              <a:defRPr sz="2800"/>
            </a:lvl2pPr>
            <a:lvl3pPr marL="1828709" indent="0">
              <a:buNone/>
              <a:defRPr sz="2400"/>
            </a:lvl3pPr>
            <a:lvl4pPr marL="2743063" indent="0">
              <a:buNone/>
              <a:defRPr sz="2000"/>
            </a:lvl4pPr>
            <a:lvl5pPr marL="3657417" indent="0">
              <a:buNone/>
              <a:defRPr sz="2000"/>
            </a:lvl5pPr>
            <a:lvl6pPr marL="4571771" indent="0">
              <a:buNone/>
              <a:defRPr sz="2000"/>
            </a:lvl6pPr>
            <a:lvl7pPr marL="5486126" indent="0">
              <a:buNone/>
              <a:defRPr sz="2000"/>
            </a:lvl7pPr>
            <a:lvl8pPr marL="6400480" indent="0">
              <a:buNone/>
              <a:defRPr sz="2000"/>
            </a:lvl8pPr>
            <a:lvl9pPr marL="7314834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6F0260-F039-5D97-C92B-957668105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D5DE85-6AC1-2D8B-B268-E0A29B9FF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A83EBE-E895-EDBF-1E39-BA525CA07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6908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F5676-4C4E-9F31-A80E-7C611F1DD5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68" y="914400"/>
            <a:ext cx="7863962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D38918-E690-0F0F-E18D-8071DF7683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5701" y="1974851"/>
            <a:ext cx="12343597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093063-8221-1D79-A1B8-ECB85E28CB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468" y="4114800"/>
            <a:ext cx="7863962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354" indent="0">
              <a:buNone/>
              <a:defRPr sz="2800"/>
            </a:lvl2pPr>
            <a:lvl3pPr marL="1828709" indent="0">
              <a:buNone/>
              <a:defRPr sz="2400"/>
            </a:lvl3pPr>
            <a:lvl4pPr marL="2743063" indent="0">
              <a:buNone/>
              <a:defRPr sz="2000"/>
            </a:lvl4pPr>
            <a:lvl5pPr marL="3657417" indent="0">
              <a:buNone/>
              <a:defRPr sz="2000"/>
            </a:lvl5pPr>
            <a:lvl6pPr marL="4571771" indent="0">
              <a:buNone/>
              <a:defRPr sz="2000"/>
            </a:lvl6pPr>
            <a:lvl7pPr marL="5486126" indent="0">
              <a:buNone/>
              <a:defRPr sz="2000"/>
            </a:lvl7pPr>
            <a:lvl8pPr marL="6400480" indent="0">
              <a:buNone/>
              <a:defRPr sz="2000"/>
            </a:lvl8pPr>
            <a:lvl9pPr marL="7314834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00A6A4-3C6F-9BD5-D396-EA8EEB8A2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924A15-59B1-50EF-6C10-869DA787D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F53815-9B79-3CAF-FBB1-6031115F5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6145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D5E180-5BC7-B55E-6ABB-712BED31F2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21DC3E-E278-B994-C710-C070A55F2A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3794BA-55A4-A3FD-5EB3-2DEF2BE15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FEF9-CC8D-B0B7-1FC1-5D37ABE5B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BF7F0E-5A95-A1D1-1D86-D385C8AEC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3696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686ABF-7726-4FAE-6DDD-DFAC779496F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8664" y="730250"/>
            <a:ext cx="5257458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2EEA2E-CA53-C2FD-EBE8-662FF74CF4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6291" y="730250"/>
            <a:ext cx="15467593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E1BB08-EFE8-11A9-1911-7DE3ECDE46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84C354-8905-3F95-C430-F6F6DEC4F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161151-A5FC-2DBF-F559-6612D196A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508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117321-3BD6-3D34-1821-CBBE5B2F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6932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117321-3BD6-3D34-1821-CBBE5B2F28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1B1DE2CA-7723-A121-99C8-FCD8A672E4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03443" y="569404"/>
            <a:ext cx="12625353" cy="1260157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6DBF6A8-DA90-FBCB-9307-CE03BA8FD27F}"/>
              </a:ext>
            </a:extLst>
          </p:cNvPr>
          <p:cNvSpPr/>
          <p:nvPr userDrawn="1"/>
        </p:nvSpPr>
        <p:spPr>
          <a:xfrm>
            <a:off x="11069053" y="481263"/>
            <a:ext cx="2163739" cy="2167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8D1DEC-D92B-459A-A0B2-D0F582B8EA08}"/>
              </a:ext>
            </a:extLst>
          </p:cNvPr>
          <p:cNvSpPr/>
          <p:nvPr userDrawn="1"/>
        </p:nvSpPr>
        <p:spPr>
          <a:xfrm>
            <a:off x="13288097" y="9021501"/>
            <a:ext cx="4212000" cy="4237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1C23E5-909D-BCF9-DFF4-7151A3416BB3}"/>
              </a:ext>
            </a:extLst>
          </p:cNvPr>
          <p:cNvSpPr/>
          <p:nvPr userDrawn="1"/>
        </p:nvSpPr>
        <p:spPr>
          <a:xfrm>
            <a:off x="17582148" y="417095"/>
            <a:ext cx="6259659" cy="64409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5F7D8451-2757-7D8C-F457-CFD335DF12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1202708" y="576000"/>
            <a:ext cx="1998000" cy="20088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 dirty="0"/>
            </a:lvl1pPr>
          </a:lstStyle>
          <a:p>
            <a:pPr lvl="0"/>
            <a:r>
              <a:rPr lang="en-AU" dirty="0"/>
              <a:t>Click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4212ED-E598-1569-5BD4-B685B55364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617" y="5547895"/>
            <a:ext cx="10040400" cy="2659190"/>
          </a:xfrm>
        </p:spPr>
        <p:txBody>
          <a:bodyPr vert="horz" anchor="b">
            <a:noAutofit/>
          </a:bodyPr>
          <a:lstStyle>
            <a:lvl1pPr algn="l">
              <a:defRPr sz="8000" spc="-500" baseline="0"/>
            </a:lvl1pPr>
          </a:lstStyle>
          <a:p>
            <a:r>
              <a:rPr lang="en-GB" dirty="0"/>
              <a:t>PRESENTATION TITLE HERE</a:t>
            </a:r>
            <a:endParaRPr lang="en-AU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972998B-E263-7B18-4D55-9BE5250356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8967" y="12779639"/>
            <a:ext cx="5800477" cy="442035"/>
          </a:xfrm>
        </p:spPr>
        <p:txBody>
          <a:bodyPr tIns="72000" anchor="b" anchorCtr="0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en-GB" dirty="0"/>
              <a:t>DAY MONTH YEAR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73ED566-AD86-B779-830B-D89B3EF7346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599407" y="575999"/>
            <a:ext cx="6242400" cy="62280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 dirty="0"/>
            </a:lvl1pPr>
          </a:lstStyle>
          <a:p>
            <a:pPr lvl="0"/>
            <a:r>
              <a:rPr lang="en-AU" dirty="0"/>
              <a:t>Click icon to add image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7DB964D2-E98A-CD24-F7BF-CBFF66B479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349235" y="9064196"/>
            <a:ext cx="4111200" cy="40932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 dirty="0"/>
            </a:lvl1pPr>
          </a:lstStyle>
          <a:p>
            <a:pPr lvl="0"/>
            <a:r>
              <a:rPr lang="en-AU" dirty="0"/>
              <a:t>Click icon to add image</a:t>
            </a:r>
          </a:p>
        </p:txBody>
      </p:sp>
      <p:pic>
        <p:nvPicPr>
          <p:cNvPr id="5" name="Picture 4" descr="Blue text on a black background&#10;&#10;Description automatically generated">
            <a:extLst>
              <a:ext uri="{FF2B5EF4-FFF2-40B4-BE49-F238E27FC236}">
                <a16:creationId xmlns:a16="http://schemas.microsoft.com/office/drawing/2014/main" id="{A569A3C9-DE99-C9E9-EBBC-9EDF9401A6B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846637" y="576000"/>
            <a:ext cx="3565219" cy="786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930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844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3578DBC-8E3C-EB8B-2A50-83BB249A2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70108" y="3826066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2C6351-1C40-B3E2-F0A0-4DF98759F8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218862" y="3826066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34742AF0-4291-BCF5-7F9C-50A46A1B92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70108" y="4915585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85725956-DB57-8B7F-CA7A-47A0F4C1C4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218862" y="4915585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AD63B3D-0EF1-89AD-8EA9-4A634E1E69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370108" y="6005104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57AD58CE-4465-ECF0-88E9-D3F22671AE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218862" y="6005104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E6A1A06A-54E3-6578-2243-3CD1AFFB6E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370108" y="7094623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EA522EF-7EE3-210A-4893-1232B604581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218862" y="7094623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70CB4D5-9896-6E07-B8F5-0358D6E92B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70108" y="8184142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899815AD-59A7-1916-1386-77CA216965F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218862" y="8184142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995129C-5FEB-5B1B-579A-8DC34DCF7B7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370108" y="9273661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FC739C1-A0CC-6842-9CC5-20DA5160D45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218862" y="9273661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9253505D-8FE9-7E51-2B14-4E8E91272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370108" y="10363180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5BB2FBF5-978C-E84D-7CFE-5B0B4DEBEA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18862" y="10363180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81DE47E-660A-7FAB-F2C4-DDB4D6C42C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70108" y="11452697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D7DA6B77-0199-CFFD-CC9F-3DD5A510F81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218862" y="11452697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223FD78-FC57-434D-2082-FE2E8367A122}"/>
              </a:ext>
            </a:extLst>
          </p:cNvPr>
          <p:cNvSpPr txBox="1"/>
          <p:nvPr userDrawn="1"/>
        </p:nvSpPr>
        <p:spPr>
          <a:xfrm>
            <a:off x="571207" y="3826066"/>
            <a:ext cx="2198119" cy="553998"/>
          </a:xfrm>
          <a:prstGeom prst="rect">
            <a:avLst/>
          </a:prstGeom>
        </p:spPr>
        <p:txBody>
          <a:bodyPr vert="horz" wrap="square" lIns="0" tIns="0" rIns="144000" bIns="0" rtlCol="0" anchor="t">
            <a:spAutoFit/>
          </a:bodyPr>
          <a:lstStyle>
            <a:lvl1pPr defTabSz="1828326">
              <a:lnSpc>
                <a:spcPct val="90000"/>
              </a:lnSpc>
              <a:spcBef>
                <a:spcPct val="0"/>
              </a:spcBef>
              <a:buNone/>
              <a:defRPr lang="en-AU" sz="4000" b="1" i="0" cap="all" spc="-20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38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8850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CABC038-B59B-C2E4-BC39-E1714AD4CF7E}"/>
              </a:ext>
            </a:extLst>
          </p:cNvPr>
          <p:cNvSpPr/>
          <p:nvPr userDrawn="1"/>
        </p:nvSpPr>
        <p:spPr>
          <a:xfrm>
            <a:off x="10589444" y="0"/>
            <a:ext cx="13792969" cy="13716000"/>
          </a:xfrm>
          <a:prstGeom prst="rect">
            <a:avLst/>
          </a:prstGeom>
          <a:solidFill>
            <a:srgbClr val="F1E5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3348A28-22E3-F491-B777-62F8CCF533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70108" y="3826066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123E2202-45FE-B5B4-550C-72D840006F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218862" y="3826066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0E3E30D2-1110-914B-7FF6-F09BB91855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70108" y="4915585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0118BB7-F5ED-371F-D24E-96C876EB96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218862" y="4915585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45C0364-3853-2EFC-DE6E-D258DD3B076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370108" y="6005104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4C7E475-6E1B-81D3-9F9E-99D13A6584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218862" y="6005104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694AD58-ECDC-CC2D-9096-D06BF1EAB8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370108" y="7094623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23DAB50-6408-A9E4-7A4D-DBB9BD4DD9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218862" y="7094623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626DBFB-DA99-B6B6-11D6-99FF6D0B9B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70108" y="8184142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F1F8012-0911-F563-FDAD-ED5C3F79054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218862" y="8184142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DC909F3-8F25-C46A-0CB3-E0B86B469C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370108" y="9273661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7C1254E-8384-0877-65DC-E130B92466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218862" y="9273661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C8EA2816-87ED-5918-458D-2915B3D4CE8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370108" y="10363180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A3C34D9A-8CB2-53B5-8F73-1F4654B142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18862" y="10363180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84775C08-5FFA-1978-4F6C-9069830127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70108" y="11452697"/>
            <a:ext cx="11450330" cy="954481"/>
          </a:xfrm>
        </p:spPr>
        <p:txBody>
          <a:bodyPr tIns="0" anchor="ctr">
            <a:noAutofit/>
          </a:bodyPr>
          <a:lstStyle>
            <a:lvl1pPr marL="0" indent="0">
              <a:buNone/>
              <a:defRPr sz="4000"/>
            </a:lvl1pPr>
          </a:lstStyle>
          <a:p>
            <a:r>
              <a:rPr lang="en-GB" dirty="0"/>
              <a:t>Item 1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ABC7DC1-B3E0-89E5-2D4A-9241E18C088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218862" y="11452697"/>
            <a:ext cx="943200" cy="954481"/>
          </a:xfrm>
          <a:noFill/>
        </p:spPr>
        <p:txBody>
          <a:bodyPr wrap="none" tIns="0" anchor="ctr"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#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2340FCD-3C87-205F-BAB5-75B593A2E50F}"/>
              </a:ext>
            </a:extLst>
          </p:cNvPr>
          <p:cNvSpPr txBox="1"/>
          <p:nvPr userDrawn="1"/>
        </p:nvSpPr>
        <p:spPr>
          <a:xfrm>
            <a:off x="571207" y="3826066"/>
            <a:ext cx="2407124" cy="553998"/>
          </a:xfrm>
          <a:prstGeom prst="rect">
            <a:avLst/>
          </a:prstGeom>
        </p:spPr>
        <p:txBody>
          <a:bodyPr vert="horz" wrap="square" lIns="0" tIns="0" rIns="144000" bIns="0" rtlCol="0" anchor="t">
            <a:spAutoFit/>
          </a:bodyPr>
          <a:lstStyle>
            <a:lvl1pPr defTabSz="1828326">
              <a:lnSpc>
                <a:spcPct val="90000"/>
              </a:lnSpc>
              <a:spcBef>
                <a:spcPct val="0"/>
              </a:spcBef>
              <a:buNone/>
              <a:defRPr lang="en-AU" sz="4000" b="1" i="0" cap="all" spc="-200" baseline="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AU" dirty="0"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68354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E599B-8921-5BAA-A37E-FC70AC998A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4638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E599B-8921-5BAA-A37E-FC70AC998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CF6F86-816B-4861-8075-919A4C3E7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207" y="3783013"/>
            <a:ext cx="10020593" cy="1329595"/>
          </a:xfrm>
        </p:spPr>
        <p:txBody>
          <a:bodyPr vert="horz">
            <a:noAutofit/>
          </a:bodyPr>
          <a:lstStyle>
            <a:lvl1pPr>
              <a:defRPr sz="9600"/>
            </a:lvl1pPr>
          </a:lstStyle>
          <a:p>
            <a:r>
              <a:rPr lang="en-GB" dirty="0"/>
              <a:t>SECTION NAME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7BC05-03A3-A834-60B3-0E92F1D81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AF2E80-D767-2605-730D-F2B265BC8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D159D4C-3496-8C16-AB54-4A1D2976552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218862" y="564942"/>
            <a:ext cx="12601575" cy="1194614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lang="en-AU"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 dirty="0"/>
              <a:t>Click icon to add image</a:t>
            </a:r>
          </a:p>
          <a:p>
            <a:pPr lvl="0"/>
            <a:endParaRPr lang="en-AU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E2ACE55-4AF0-D869-E259-EAA1EE18C694}"/>
              </a:ext>
            </a:extLst>
          </p:cNvPr>
          <p:cNvCxnSpPr>
            <a:cxnSpLocks/>
          </p:cNvCxnSpPr>
          <p:nvPr userDrawn="1"/>
        </p:nvCxnSpPr>
        <p:spPr>
          <a:xfrm>
            <a:off x="4834446" y="10061575"/>
            <a:ext cx="6227762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40403147-AFCF-0CF1-9FBB-FA514CAB4F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41096" y="10061575"/>
            <a:ext cx="6221112" cy="2449513"/>
          </a:xfrm>
          <a:prstGeom prst="rect">
            <a:avLst/>
          </a:prstGeom>
        </p:spPr>
        <p:txBody>
          <a:bodyPr lIns="0" tIns="216000" rIns="0" bIns="0"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Aft>
                <a:spcPts val="0"/>
              </a:spcAft>
              <a:defRPr sz="2400"/>
            </a:lvl2pPr>
            <a:lvl3pPr>
              <a:spcAft>
                <a:spcPts val="0"/>
              </a:spcAft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0052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svg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2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tags" Target="../tags/tag5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25.xml"/><Relationship Id="rId34" Type="http://schemas.openxmlformats.org/officeDocument/2006/relationships/slideLayout" Target="../slideLayouts/slideLayout38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41.xml"/><Relationship Id="rId40" Type="http://schemas.openxmlformats.org/officeDocument/2006/relationships/tags" Target="../tags/tag8.xml"/><Relationship Id="rId45" Type="http://schemas.openxmlformats.org/officeDocument/2006/relationships/image" Target="../media/image20.png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35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42.xml"/><Relationship Id="rId46" Type="http://schemas.openxmlformats.org/officeDocument/2006/relationships/image" Target="../media/image21.svg"/><Relationship Id="rId20" Type="http://schemas.openxmlformats.org/officeDocument/2006/relationships/slideLayout" Target="../slideLayouts/slideLayout24.xml"/><Relationship Id="rId41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BBFC74-62E9-D3EB-2619-9C422A194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50552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BBFC74-62E9-D3EB-2619-9C422A194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864C75-7EBD-01AA-836D-DF7536E3C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207" y="3826066"/>
            <a:ext cx="4121999" cy="553998"/>
          </a:xfrm>
          <a:prstGeom prst="rect">
            <a:avLst/>
          </a:prstGeom>
        </p:spPr>
        <p:txBody>
          <a:bodyPr vert="horz" lIns="0" tIns="0" rIns="144000" bIns="0" rtlCol="0" anchor="t">
            <a:noAutofit/>
          </a:bodyPr>
          <a:lstStyle/>
          <a:p>
            <a:pPr marL="0" lvl="0"/>
            <a:r>
              <a:rPr lang="en-GB" dirty="0"/>
              <a:t>SLIDE TITLE HERE 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CF21BC-A9B1-2D76-E42C-D99362AA42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205" y="3422333"/>
            <a:ext cx="4121999" cy="2308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defRPr lang="en-AU"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8283C-BCC1-39F3-181A-CA965A0B37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34742" y="12894489"/>
            <a:ext cx="10800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C4E66AD-8D6B-A7B5-7B4D-785FF98D04D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4542" y="576001"/>
            <a:ext cx="2857500" cy="720090"/>
          </a:xfrm>
          <a:prstGeom prst="rect">
            <a:avLst/>
          </a:prstGeom>
        </p:spPr>
      </p:pic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1D69EC-1D1D-27B2-E851-73600D6841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2175" y="3819600"/>
            <a:ext cx="19118264" cy="8691488"/>
          </a:xfrm>
          <a:prstGeom prst="rect">
            <a:avLst/>
          </a:prstGeom>
        </p:spPr>
        <p:txBody>
          <a:bodyPr vert="horz" lIns="0" tIns="21600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AU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A656214-56AE-4A83-D830-733161518C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4542" y="576001"/>
            <a:ext cx="2880000" cy="72580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DFDEABF-5D98-701A-9DFD-E636607AD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5968" y="11611293"/>
            <a:ext cx="1114425" cy="156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401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5" r:id="rId2"/>
  </p:sldLayoutIdLst>
  <p:hf hdr="0" dt="0"/>
  <p:txStyles>
    <p:titleStyle>
      <a:lvl1pPr algn="l" defTabSz="1828326" rtl="0" eaLnBrk="1" latinLnBrk="0" hangingPunct="1">
        <a:lnSpc>
          <a:spcPct val="90000"/>
        </a:lnSpc>
        <a:spcBef>
          <a:spcPct val="0"/>
        </a:spcBef>
        <a:buNone/>
        <a:defRPr lang="en-AU" sz="3300" b="1" i="0" kern="1200" cap="all" spc="-200" baseline="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600" kern="1200">
          <a:solidFill>
            <a:schemeClr val="bg1"/>
          </a:solidFill>
          <a:latin typeface="+mn-lt"/>
          <a:ea typeface="+mn-ea"/>
          <a:cs typeface="+mn-cs"/>
        </a:defRPr>
      </a:lvl1pPr>
      <a:lvl2pPr marL="460375" indent="-441325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bg1"/>
          </a:solidFill>
          <a:latin typeface="+mn-lt"/>
          <a:ea typeface="+mn-ea"/>
          <a:cs typeface="+mn-cs"/>
        </a:defRPr>
      </a:lvl2pPr>
      <a:lvl3pPr marL="1116013" indent="-4048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bg1"/>
          </a:solidFill>
          <a:latin typeface="+mn-lt"/>
          <a:ea typeface="+mn-ea"/>
          <a:cs typeface="+mn-cs"/>
        </a:defRPr>
      </a:lvl3pPr>
      <a:lvl4pPr marL="1789113" indent="-4429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bg1"/>
          </a:solidFill>
          <a:latin typeface="+mn-lt"/>
          <a:ea typeface="+mn-ea"/>
          <a:cs typeface="+mn-cs"/>
        </a:defRPr>
      </a:lvl4pPr>
      <a:lvl5pPr marL="2405063" indent="-4048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3">
          <p15:clr>
            <a:srgbClr val="F26B43"/>
          </p15:clr>
        </p15:guide>
        <p15:guide id="2" pos="331">
          <p15:clr>
            <a:srgbClr val="F26B43"/>
          </p15:clr>
        </p15:guide>
        <p15:guide id="3" pos="15005">
          <p15:clr>
            <a:srgbClr val="F26B43"/>
          </p15:clr>
        </p15:guide>
        <p15:guide id="4" pos="2962">
          <p15:clr>
            <a:srgbClr val="F26B43"/>
          </p15:clr>
        </p15:guide>
        <p15:guide id="5" pos="7046">
          <p15:clr>
            <a:srgbClr val="F26B43"/>
          </p15:clr>
        </p15:guide>
        <p15:guide id="6" orient="horz" pos="7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BBFC74-62E9-D3EB-2619-9C422A194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50552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BBFC74-62E9-D3EB-2619-9C422A194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864C75-7EBD-01AA-836D-DF7536E3C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207" y="3826066"/>
            <a:ext cx="4121999" cy="553998"/>
          </a:xfrm>
          <a:prstGeom prst="rect">
            <a:avLst/>
          </a:prstGeom>
        </p:spPr>
        <p:txBody>
          <a:bodyPr vert="horz" lIns="0" tIns="0" rIns="144000" bIns="0" rtlCol="0" anchor="t">
            <a:noAutofit/>
          </a:bodyPr>
          <a:lstStyle/>
          <a:p>
            <a:pPr marL="0" lvl="0"/>
            <a:r>
              <a:rPr lang="en-GB" dirty="0"/>
              <a:t>SLIDE TITLE HERE 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CF21BC-A9B1-2D76-E42C-D99362AA42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205" y="3422333"/>
            <a:ext cx="4121999" cy="2308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defRPr lang="en-AU" sz="16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8283C-BCC1-39F3-181A-CA965A0B37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34742" y="12894489"/>
            <a:ext cx="10800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C4E66AD-8D6B-A7B5-7B4D-785FF98D04D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4542" y="576001"/>
            <a:ext cx="2857500" cy="720090"/>
          </a:xfrm>
          <a:prstGeom prst="rect">
            <a:avLst/>
          </a:prstGeom>
        </p:spPr>
      </p:pic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1D69EC-1D1D-27B2-E851-73600D6841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2175" y="3819600"/>
            <a:ext cx="19118264" cy="8691488"/>
          </a:xfrm>
          <a:prstGeom prst="rect">
            <a:avLst/>
          </a:prstGeom>
        </p:spPr>
        <p:txBody>
          <a:bodyPr vert="horz" lIns="0" tIns="21600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AU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A656214-56AE-4A83-D830-733161518C1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4542" y="576001"/>
            <a:ext cx="2880000" cy="725808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DFDEABF-5D98-701A-9DFD-E636607AD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5968" y="11611293"/>
            <a:ext cx="1114425" cy="156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568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</p:sldLayoutIdLst>
  <p:hf hdr="0" dt="0"/>
  <p:txStyles>
    <p:titleStyle>
      <a:lvl1pPr algn="l" defTabSz="1828326" rtl="0" eaLnBrk="1" latinLnBrk="0" hangingPunct="1">
        <a:lnSpc>
          <a:spcPct val="90000"/>
        </a:lnSpc>
        <a:spcBef>
          <a:spcPct val="0"/>
        </a:spcBef>
        <a:buNone/>
        <a:defRPr lang="en-AU" sz="3300" b="1" i="0" kern="1200" cap="all" spc="-200" baseline="0" dirty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0375" indent="-441325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6013" indent="-4048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89113" indent="-4429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05063" indent="-4048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3">
          <p15:clr>
            <a:srgbClr val="F26B43"/>
          </p15:clr>
        </p15:guide>
        <p15:guide id="2" pos="331">
          <p15:clr>
            <a:srgbClr val="F26B43"/>
          </p15:clr>
        </p15:guide>
        <p15:guide id="3" pos="15005">
          <p15:clr>
            <a:srgbClr val="F26B43"/>
          </p15:clr>
        </p15:guide>
        <p15:guide id="4" pos="2962">
          <p15:clr>
            <a:srgbClr val="F26B43"/>
          </p15:clr>
        </p15:guide>
        <p15:guide id="5" pos="7046">
          <p15:clr>
            <a:srgbClr val="F26B43"/>
          </p15:clr>
        </p15:guide>
        <p15:guide id="6" orient="horz" pos="7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BBFC74-62E9-D3EB-2619-9C422A194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015937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7772400" imgH="10058400" progId="TCLayout.ActiveDocument.1">
                  <p:embed/>
                </p:oleObj>
              </mc:Choice>
              <mc:Fallback>
                <p:oleObj name="think-cell Slide" r:id="rId41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BBFC74-62E9-D3EB-2619-9C422A194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864C75-7EBD-01AA-836D-DF7536E3C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207" y="3826066"/>
            <a:ext cx="4121999" cy="553998"/>
          </a:xfrm>
          <a:prstGeom prst="rect">
            <a:avLst/>
          </a:prstGeom>
        </p:spPr>
        <p:txBody>
          <a:bodyPr vert="horz" lIns="0" tIns="0" rIns="144000" bIns="0" rtlCol="0" anchor="t">
            <a:noAutofit/>
          </a:bodyPr>
          <a:lstStyle/>
          <a:p>
            <a:pPr marL="0" lvl="0"/>
            <a:r>
              <a:rPr lang="en-GB" dirty="0"/>
              <a:t>SLIDE TITLE HERE </a:t>
            </a:r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CF21BC-A9B1-2D76-E42C-D99362AA42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1205" y="3422333"/>
            <a:ext cx="4121999" cy="2308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defRPr lang="en-AU" sz="16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en-AU" dirty="0"/>
              <a:t>PRESENTATION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8283C-BCC1-39F3-181A-CA965A0B37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34742" y="12894489"/>
            <a:ext cx="10800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15284B0-4440-5F47-BDFA-4CDBE72ED863}" type="slidenum">
              <a:rPr lang="en-AU" smtClean="0"/>
              <a:pPr/>
              <a:t>‹#›</a:t>
            </a:fld>
            <a:endParaRPr lang="en-A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C4E66AD-8D6B-A7B5-7B4D-785FF98D04D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564542" y="576001"/>
            <a:ext cx="2857500" cy="72009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9E64454-3B5D-0007-B3A0-708D7FE828D2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575968" y="11611293"/>
            <a:ext cx="1114425" cy="1560195"/>
          </a:xfrm>
          <a:prstGeom prst="rect">
            <a:avLst/>
          </a:prstGeom>
        </p:spPr>
      </p:pic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BE1D69EC-1D1D-27B2-E851-73600D6841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02175" y="3819600"/>
            <a:ext cx="19118264" cy="8691488"/>
          </a:xfrm>
          <a:prstGeom prst="rect">
            <a:avLst/>
          </a:prstGeom>
        </p:spPr>
        <p:txBody>
          <a:bodyPr vert="horz" lIns="0" tIns="21600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68292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697" r:id="rId20"/>
    <p:sldLayoutId id="2147483681" r:id="rId21"/>
    <p:sldLayoutId id="2147483685" r:id="rId22"/>
    <p:sldLayoutId id="2147483686" r:id="rId23"/>
    <p:sldLayoutId id="2147483687" r:id="rId24"/>
    <p:sldLayoutId id="2147483690" r:id="rId25"/>
    <p:sldLayoutId id="2147483689" r:id="rId26"/>
    <p:sldLayoutId id="2147483692" r:id="rId27"/>
    <p:sldLayoutId id="2147483691" r:id="rId28"/>
    <p:sldLayoutId id="2147483693" r:id="rId29"/>
    <p:sldLayoutId id="2147483694" r:id="rId30"/>
    <p:sldLayoutId id="2147483695" r:id="rId31"/>
    <p:sldLayoutId id="2147483650" r:id="rId32"/>
    <p:sldLayoutId id="2147483729" r:id="rId33"/>
    <p:sldLayoutId id="2147483674" r:id="rId34"/>
    <p:sldLayoutId id="2147483675" r:id="rId35"/>
    <p:sldLayoutId id="2147483730" r:id="rId36"/>
    <p:sldLayoutId id="2147483676" r:id="rId37"/>
    <p:sldLayoutId id="2147483696" r:id="rId38"/>
  </p:sldLayoutIdLst>
  <p:hf hdr="0" dt="0"/>
  <p:txStyles>
    <p:titleStyle>
      <a:lvl1pPr algn="l" defTabSz="1828326" rtl="0" eaLnBrk="1" latinLnBrk="0" hangingPunct="1">
        <a:lnSpc>
          <a:spcPct val="90000"/>
        </a:lnSpc>
        <a:spcBef>
          <a:spcPct val="0"/>
        </a:spcBef>
        <a:buNone/>
        <a:defRPr lang="en-AU" sz="3300" b="1" i="0" kern="1200" cap="all" spc="-200" baseline="0" dirty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0375" indent="-441325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6013" indent="-4048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89113" indent="-4429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05063" indent="-4048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tabLst/>
        <a:defRPr sz="3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3">
          <p15:clr>
            <a:srgbClr val="F26B43"/>
          </p15:clr>
        </p15:guide>
        <p15:guide id="2" pos="331">
          <p15:clr>
            <a:srgbClr val="F26B43"/>
          </p15:clr>
        </p15:guide>
        <p15:guide id="3" pos="15005">
          <p15:clr>
            <a:srgbClr val="F26B43"/>
          </p15:clr>
        </p15:guide>
        <p15:guide id="4" pos="2962">
          <p15:clr>
            <a:srgbClr val="F26B43"/>
          </p15:clr>
        </p15:guide>
        <p15:guide id="5" pos="7046">
          <p15:clr>
            <a:srgbClr val="F26B43"/>
          </p15:clr>
        </p15:guide>
        <p15:guide id="6" orient="horz" pos="7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052D36-1B3D-F2AF-18F1-2835779CE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291" y="730251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D9A6FD-F876-5E15-227B-515FD604C0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291" y="3651250"/>
            <a:ext cx="21029831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8C6708-7FFF-D130-F60F-5685204BFC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6291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63C7C8-6ABC-8E47-B7A6-035EBC512EAF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C29863-53F3-CAED-F143-45D993DE72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6675" y="12712701"/>
            <a:ext cx="8229064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B248FE-5BFA-5DCD-56E6-2C9149E321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20079" y="1271270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64A8D2-92AE-214E-A2F9-3F6286EF05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238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7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4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8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4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4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9.xml"/><Relationship Id="rId6" Type="http://schemas.openxmlformats.org/officeDocument/2006/relationships/diagramData" Target="../diagrams/data1.xml"/><Relationship Id="rId5" Type="http://schemas.openxmlformats.org/officeDocument/2006/relationships/image" Target="../media/image32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46.bin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5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0.xml"/><Relationship Id="rId6" Type="http://schemas.openxmlformats.org/officeDocument/2006/relationships/diagramData" Target="../diagrams/data2.xml"/><Relationship Id="rId5" Type="http://schemas.openxmlformats.org/officeDocument/2006/relationships/image" Target="../media/image32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46.bin"/><Relationship Id="rId9" Type="http://schemas.openxmlformats.org/officeDocument/2006/relationships/diagramColors" Target="../diagrams/colors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1.xml"/><Relationship Id="rId6" Type="http://schemas.openxmlformats.org/officeDocument/2006/relationships/image" Target="../media/image33.jp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4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arge building with columns and trees&#10;&#10;Description automatically generated">
            <a:extLst>
              <a:ext uri="{FF2B5EF4-FFF2-40B4-BE49-F238E27FC236}">
                <a16:creationId xmlns:a16="http://schemas.microsoft.com/office/drawing/2014/main" id="{EE3186A7-2837-FE9C-F240-26B6837691B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</a:blip>
          <a:srcRect b="14198"/>
          <a:stretch/>
        </p:blipFill>
        <p:spPr>
          <a:xfrm>
            <a:off x="-77675" y="-101709"/>
            <a:ext cx="24474211" cy="13999405"/>
          </a:xfrm>
          <a:prstGeom prst="rect">
            <a:avLst/>
          </a:prstGeom>
        </p:spPr>
      </p:pic>
      <p:pic>
        <p:nvPicPr>
          <p:cNvPr id="16" name="Picture 15" descr="A blue and black background&#10;&#10;Description automatically generated">
            <a:extLst>
              <a:ext uri="{FF2B5EF4-FFF2-40B4-BE49-F238E27FC236}">
                <a16:creationId xmlns:a16="http://schemas.microsoft.com/office/drawing/2014/main" id="{83D9D66C-7CDC-957A-D7C1-91FD34C1FCB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937" b="-2051"/>
          <a:stretch/>
        </p:blipFill>
        <p:spPr>
          <a:xfrm>
            <a:off x="8831563" y="-17553"/>
            <a:ext cx="15543788" cy="10320426"/>
          </a:xfrm>
          <a:prstGeom prst="rect">
            <a:avLst/>
          </a:prstGeom>
        </p:spPr>
      </p:pic>
      <p:pic>
        <p:nvPicPr>
          <p:cNvPr id="14" name="Picture 13" descr="A close-up of a white object&#10;&#10;Description automatically generated">
            <a:extLst>
              <a:ext uri="{FF2B5EF4-FFF2-40B4-BE49-F238E27FC236}">
                <a16:creationId xmlns:a16="http://schemas.microsoft.com/office/drawing/2014/main" id="{76AEEFF1-1FED-1CDF-0F51-B450DC8506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16510" y="-220133"/>
            <a:ext cx="24491861" cy="127740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0D40795-9538-0635-7EA9-8846ED21AB6F}"/>
              </a:ext>
            </a:extLst>
          </p:cNvPr>
          <p:cNvSpPr/>
          <p:nvPr/>
        </p:nvSpPr>
        <p:spPr>
          <a:xfrm>
            <a:off x="7062" y="12553960"/>
            <a:ext cx="24389474" cy="2585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72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7781B6-BF3C-AD0A-A6DD-4421CE4A4142}"/>
              </a:ext>
            </a:extLst>
          </p:cNvPr>
          <p:cNvSpPr txBox="1"/>
          <p:nvPr/>
        </p:nvSpPr>
        <p:spPr>
          <a:xfrm>
            <a:off x="1198393" y="865086"/>
            <a:ext cx="21851747" cy="8832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NZ" sz="7200" b="1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</a:rPr>
              <a:t>PANEL DISCUSSION</a:t>
            </a:r>
            <a:endParaRPr lang="en-NZ" sz="7200" b="1">
              <a:solidFill>
                <a:schemeClr val="accent5">
                  <a:lumMod val="75000"/>
                </a:schemeClr>
              </a:solidFill>
              <a:effectLst/>
              <a:latin typeface="Open Sans" panose="020B0606030504020204" pitchFamily="34" charset="0"/>
            </a:endParaRPr>
          </a:p>
          <a:p>
            <a:pPr>
              <a:spcBef>
                <a:spcPts val="1200"/>
              </a:spcBef>
            </a:pPr>
            <a:r>
              <a:rPr lang="en-NZ" sz="9600" b="1">
                <a:solidFill>
                  <a:srgbClr val="153F6B"/>
                </a:solidFill>
                <a:latin typeface="Open Sans" panose="020B0606030504020204" pitchFamily="34" charset="0"/>
              </a:rPr>
              <a:t>Safeguarding Members and Staff</a:t>
            </a:r>
            <a:endParaRPr lang="en-NZ" sz="6400" b="1">
              <a:solidFill>
                <a:srgbClr val="153F6B"/>
              </a:solidFill>
              <a:latin typeface="Open Sans" panose="020B0606030504020204" pitchFamily="34" charset="0"/>
            </a:endParaRPr>
          </a:p>
          <a:p>
            <a:endParaRPr lang="en-NZ" sz="6400" b="1">
              <a:solidFill>
                <a:srgbClr val="153F6B"/>
              </a:solidFill>
              <a:latin typeface="Open Sans" panose="020B0606030504020204" pitchFamily="34" charset="0"/>
            </a:endParaRPr>
          </a:p>
          <a:p>
            <a:r>
              <a:rPr lang="en-NZ" sz="6400" b="1">
                <a:solidFill>
                  <a:srgbClr val="153F6B"/>
                </a:solidFill>
                <a:latin typeface="Open Sans" panose="020B0606030504020204" pitchFamily="34" charset="0"/>
              </a:rPr>
              <a:t>Bruce Pope, </a:t>
            </a:r>
            <a:r>
              <a:rPr lang="en-NZ" sz="6400">
                <a:solidFill>
                  <a:srgbClr val="153F6B"/>
                </a:solidFill>
                <a:latin typeface="Open Sans" panose="020B0606030504020204" pitchFamily="34" charset="0"/>
              </a:rPr>
              <a:t>Parliament of NSW</a:t>
            </a:r>
          </a:p>
          <a:p>
            <a:r>
              <a:rPr lang="en-NZ" sz="6400" b="1">
                <a:solidFill>
                  <a:srgbClr val="153F6B"/>
                </a:solidFill>
                <a:latin typeface="Open Sans" panose="020B0606030504020204" pitchFamily="34" charset="0"/>
              </a:rPr>
              <a:t>Amy Yong, </a:t>
            </a:r>
            <a:r>
              <a:rPr lang="en-NZ" sz="6400">
                <a:solidFill>
                  <a:srgbClr val="153F6B"/>
                </a:solidFill>
                <a:latin typeface="Open Sans" panose="020B0606030504020204" pitchFamily="34" charset="0"/>
              </a:rPr>
              <a:t>New Zealand Parliament</a:t>
            </a:r>
          </a:p>
          <a:p>
            <a:endParaRPr lang="en-NZ" sz="6400" b="1">
              <a:solidFill>
                <a:srgbClr val="153F6B"/>
              </a:solidFill>
              <a:effectLst/>
              <a:latin typeface="Open Sans" panose="020B0606030504020204" pitchFamily="34" charset="0"/>
            </a:endParaRPr>
          </a:p>
          <a:p>
            <a:r>
              <a:rPr lang="en-NZ" sz="6400" b="1">
                <a:solidFill>
                  <a:srgbClr val="153F6B"/>
                </a:solidFill>
                <a:latin typeface="Open Sans" panose="020B0606030504020204" pitchFamily="34" charset="0"/>
              </a:rPr>
              <a:t>Facilitator: Rafael Gonzalez-Montero,</a:t>
            </a:r>
          </a:p>
          <a:p>
            <a:r>
              <a:rPr lang="en-NZ" sz="6400">
                <a:solidFill>
                  <a:srgbClr val="153F6B"/>
                </a:solidFill>
                <a:latin typeface="Open Sans" panose="020B0606030504020204" pitchFamily="34" charset="0"/>
              </a:rPr>
              <a:t>Parliamentary Service Chief Executive</a:t>
            </a:r>
            <a:endParaRPr lang="en-NZ" sz="6400">
              <a:solidFill>
                <a:schemeClr val="bg1"/>
              </a:solidFill>
              <a:effectLst/>
              <a:latin typeface="Open Sans" panose="020B06060305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A7297F-1195-7953-828C-384A7BA77B9D}"/>
              </a:ext>
            </a:extLst>
          </p:cNvPr>
          <p:cNvSpPr/>
          <p:nvPr/>
        </p:nvSpPr>
        <p:spPr>
          <a:xfrm>
            <a:off x="-60025" y="12553959"/>
            <a:ext cx="24474211" cy="1343737"/>
          </a:xfrm>
          <a:prstGeom prst="rect">
            <a:avLst/>
          </a:prstGeom>
          <a:solidFill>
            <a:srgbClr val="153F6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7200"/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A07FB92-959E-88E8-1F92-22A4BA433A4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306" y="12737682"/>
            <a:ext cx="2818794" cy="7967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EB8A07A-AC67-D9EC-D1EE-187ECA28949E}"/>
              </a:ext>
            </a:extLst>
          </p:cNvPr>
          <p:cNvSpPr txBox="1"/>
          <p:nvPr/>
        </p:nvSpPr>
        <p:spPr>
          <a:xfrm>
            <a:off x="17239439" y="12812477"/>
            <a:ext cx="68196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NZ" sz="2400" b="1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New Zealand Chapter</a:t>
            </a:r>
            <a:endParaRPr lang="en-NZ" sz="2400">
              <a:solidFill>
                <a:schemeClr val="bg1"/>
              </a:solidFill>
              <a:effectLst/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700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625294-D1B8-5196-CB08-67412CCB6E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sz="8000" dirty="0">
                <a:solidFill>
                  <a:srgbClr val="20356B"/>
                </a:solidFill>
              </a:rPr>
              <a:t>Governance </a:t>
            </a:r>
            <a:br>
              <a:rPr lang="en-AU" sz="8000" dirty="0">
                <a:solidFill>
                  <a:srgbClr val="20356B"/>
                </a:solidFill>
              </a:rPr>
            </a:br>
            <a:r>
              <a:rPr lang="en-AU" sz="8000" dirty="0">
                <a:solidFill>
                  <a:srgbClr val="20356B"/>
                </a:solidFill>
              </a:rPr>
              <a:t>and Sustained Cultural  change </a:t>
            </a:r>
            <a:br>
              <a:rPr lang="en-AU" sz="8000" dirty="0">
                <a:solidFill>
                  <a:srgbClr val="20356B"/>
                </a:solidFill>
              </a:rPr>
            </a:br>
            <a:r>
              <a:rPr lang="en-AU" sz="8000" dirty="0">
                <a:solidFill>
                  <a:srgbClr val="20356B"/>
                </a:solidFill>
              </a:rPr>
              <a:t>in parliaments </a:t>
            </a:r>
            <a:endParaRPr lang="en-AU" dirty="0">
              <a:solidFill>
                <a:srgbClr val="20356B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A2D53-B94B-2610-44D1-F6AD1B6EC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September 2024</a:t>
            </a:r>
          </a:p>
        </p:txBody>
      </p:sp>
    </p:spTree>
    <p:extLst>
      <p:ext uri="{BB962C8B-B14F-4D97-AF65-F5344CB8AC3E}">
        <p14:creationId xmlns:p14="http://schemas.microsoft.com/office/powerpoint/2010/main" val="16966895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E229A09-60C5-0491-1AC5-030BF37564EB}"/>
              </a:ext>
            </a:extLst>
          </p:cNvPr>
          <p:cNvSpPr/>
          <p:nvPr/>
        </p:nvSpPr>
        <p:spPr>
          <a:xfrm>
            <a:off x="4693204" y="0"/>
            <a:ext cx="19689209" cy="13716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chemeClr val="accent3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8AC7CB-A004-E008-B30F-A8E2E1B610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8AC7CB-A004-E008-B30F-A8E2E1B61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2EE5A2-180C-B553-ACE4-C35E72CBA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pPr/>
              <a:t>3</a:t>
            </a:fld>
            <a:endParaRPr lang="en-AU" dirty="0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5CF1F58F-667D-3A15-4534-9067D6911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576" y="2767287"/>
            <a:ext cx="4121999" cy="1218795"/>
          </a:xfrm>
        </p:spPr>
        <p:txBody>
          <a:bodyPr/>
          <a:lstStyle/>
          <a:p>
            <a:pPr marL="0" lvl="0" indent="0">
              <a:buFont typeface="+mj-lt"/>
              <a:buNone/>
            </a:pPr>
            <a:r>
              <a:rPr lang="en-AU" sz="4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ULTURAL CHANGE</a:t>
            </a:r>
            <a:endParaRPr lang="en-AU" sz="4000" b="1" dirty="0">
              <a:effectLst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F50CB61-E68C-227B-0952-08B6A93BDB48}"/>
              </a:ext>
            </a:extLst>
          </p:cNvPr>
          <p:cNvSpPr txBox="1">
            <a:spLocks/>
          </p:cNvSpPr>
          <p:nvPr/>
        </p:nvSpPr>
        <p:spPr>
          <a:xfrm>
            <a:off x="22734742" y="12875439"/>
            <a:ext cx="10800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1828709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284B0-4440-5F47-BDFA-4CDBE72ED863}" type="slidenum">
              <a:rPr lang="en-AU" smtClean="0"/>
              <a:pPr/>
              <a:t>3</a:t>
            </a:fld>
            <a:endParaRPr lang="en-A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189762-16EA-4896-E82A-4CA42EB4542A}"/>
              </a:ext>
            </a:extLst>
          </p:cNvPr>
          <p:cNvSpPr txBox="1"/>
          <p:nvPr/>
        </p:nvSpPr>
        <p:spPr>
          <a:xfrm>
            <a:off x="5183869" y="951429"/>
            <a:ext cx="18602002" cy="1940957"/>
          </a:xfrm>
          <a:prstGeom prst="round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    </a:t>
            </a:r>
            <a:endParaRPr lang="en-AU" sz="3600" b="1" kern="100" dirty="0">
              <a:solidFill>
                <a:schemeClr val="bg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liament's role in society </a:t>
            </a:r>
            <a:endParaRPr lang="en-AU" dirty="0">
              <a:solidFill>
                <a:schemeClr val="bg1"/>
              </a:solidFill>
            </a:endParaRPr>
          </a:p>
          <a:p>
            <a:pPr algn="ctr"/>
            <a:endParaRPr lang="en-AU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0E31F9-663D-63EE-09A6-C2B0EF3BCE2F}"/>
              </a:ext>
            </a:extLst>
          </p:cNvPr>
          <p:cNvSpPr txBox="1"/>
          <p:nvPr/>
        </p:nvSpPr>
        <p:spPr>
          <a:xfrm>
            <a:off x="5198304" y="3286038"/>
            <a:ext cx="18573132" cy="1940957"/>
          </a:xfrm>
          <a:prstGeom prst="round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b="1" dirty="0"/>
              <a:t> </a:t>
            </a:r>
          </a:p>
          <a:p>
            <a:pPr algn="ctr"/>
            <a:r>
              <a:rPr lang="en-AU" b="1" dirty="0">
                <a:solidFill>
                  <a:schemeClr val="bg1"/>
                </a:solidFill>
              </a:rPr>
              <a:t> </a:t>
            </a:r>
            <a:r>
              <a:rPr lang="en-AU" sz="36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hical expectations</a:t>
            </a:r>
            <a:endParaRPr lang="en-AU" sz="3600" b="1" kern="100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AU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AA272A8-1685-327D-3B02-4567F33412C1}"/>
              </a:ext>
            </a:extLst>
          </p:cNvPr>
          <p:cNvSpPr txBox="1"/>
          <p:nvPr/>
        </p:nvSpPr>
        <p:spPr>
          <a:xfrm>
            <a:off x="5212738" y="5620647"/>
            <a:ext cx="18602003" cy="1940957"/>
          </a:xfrm>
          <a:prstGeom prst="round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endParaRPr lang="en-AU" sz="3600" b="1" kern="1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eed for cultural change</a:t>
            </a:r>
          </a:p>
          <a:p>
            <a:pPr algn="ctr"/>
            <a:endParaRPr lang="en-AU" sz="3600" b="1" kern="100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5A2A6D-2ACE-6635-0A82-BC3F4DF56019}"/>
              </a:ext>
            </a:extLst>
          </p:cNvPr>
          <p:cNvSpPr txBox="1"/>
          <p:nvPr/>
        </p:nvSpPr>
        <p:spPr>
          <a:xfrm>
            <a:off x="5183868" y="7955256"/>
            <a:ext cx="18630873" cy="1940957"/>
          </a:xfrm>
          <a:prstGeom prst="round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endParaRPr lang="en-AU" b="1" dirty="0">
              <a:solidFill>
                <a:schemeClr val="bg1"/>
              </a:solidFill>
            </a:endParaRPr>
          </a:p>
          <a:p>
            <a:pPr algn="ctr"/>
            <a:r>
              <a:rPr lang="en-AU" b="1" dirty="0">
                <a:solidFill>
                  <a:schemeClr val="bg1"/>
                </a:solidFill>
              </a:rPr>
              <a:t>Unique parliamentary challenges</a:t>
            </a:r>
            <a:endParaRPr lang="en-AU" sz="3600" b="1" kern="100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AU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7CAEC8-035E-1668-5DE0-3F1653A9E07B}"/>
              </a:ext>
            </a:extLst>
          </p:cNvPr>
          <p:cNvSpPr txBox="1"/>
          <p:nvPr/>
        </p:nvSpPr>
        <p:spPr>
          <a:xfrm>
            <a:off x="5222371" y="10302720"/>
            <a:ext cx="18630873" cy="2553891"/>
          </a:xfrm>
          <a:prstGeom prst="round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3600" b="1" kern="1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AU" sz="36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tegrating human related risk </a:t>
            </a: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rough a lens of inclusion and diversity </a:t>
            </a: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o established governance frameworks to </a:t>
            </a: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ort enduring positive change</a:t>
            </a:r>
            <a:endParaRPr lang="en-A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651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E229A09-60C5-0491-1AC5-030BF37564EB}"/>
              </a:ext>
            </a:extLst>
          </p:cNvPr>
          <p:cNvSpPr/>
          <p:nvPr/>
        </p:nvSpPr>
        <p:spPr>
          <a:xfrm>
            <a:off x="4693204" y="0"/>
            <a:ext cx="19689209" cy="13716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>
              <a:solidFill>
                <a:schemeClr val="accent3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8AC7CB-A004-E008-B30F-A8E2E1B610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8AC7CB-A004-E008-B30F-A8E2E1B61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2EE5A2-180C-B553-ACE4-C35E72CBA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284B0-4440-5F47-BDFA-4CDBE72ED863}" type="slidenum">
              <a:rPr lang="en-AU" smtClean="0"/>
              <a:pPr/>
              <a:t>4</a:t>
            </a:fld>
            <a:endParaRPr lang="en-AU" dirty="0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5CF1F58F-667D-3A15-4534-9067D6911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576" y="2767287"/>
            <a:ext cx="4121999" cy="1218795"/>
          </a:xfrm>
        </p:spPr>
        <p:txBody>
          <a:bodyPr/>
          <a:lstStyle/>
          <a:p>
            <a:pPr marL="0" lvl="0" indent="0">
              <a:buFont typeface="+mj-lt"/>
              <a:buNone/>
            </a:pPr>
            <a:r>
              <a:rPr lang="en-AU" sz="4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mpact of Diversity in Transforming Parliamentary Culture </a:t>
            </a:r>
            <a:endParaRPr lang="en-AU" sz="4000" b="1" dirty="0">
              <a:effectLst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F50CB61-E68C-227B-0952-08B6A93BDB48}"/>
              </a:ext>
            </a:extLst>
          </p:cNvPr>
          <p:cNvSpPr txBox="1">
            <a:spLocks/>
          </p:cNvSpPr>
          <p:nvPr/>
        </p:nvSpPr>
        <p:spPr>
          <a:xfrm>
            <a:off x="22734742" y="12875439"/>
            <a:ext cx="10800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1828709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284B0-4440-5F47-BDFA-4CDBE72ED863}" type="slidenum">
              <a:rPr lang="en-AU" smtClean="0"/>
              <a:pPr/>
              <a:t>4</a:t>
            </a:fld>
            <a:endParaRPr lang="en-A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189762-16EA-4896-E82A-4CA42EB4542A}"/>
              </a:ext>
            </a:extLst>
          </p:cNvPr>
          <p:cNvSpPr txBox="1"/>
          <p:nvPr/>
        </p:nvSpPr>
        <p:spPr>
          <a:xfrm>
            <a:off x="5212739" y="1166290"/>
            <a:ext cx="18602002" cy="2553891"/>
          </a:xfrm>
          <a:prstGeom prst="round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b="1" dirty="0"/>
              <a:t>    </a:t>
            </a: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ustralian parliaments have a legacy of </a:t>
            </a: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armful legislation impacting marginalised groups</a:t>
            </a:r>
          </a:p>
          <a:p>
            <a:pPr algn="ctr"/>
            <a:endParaRPr lang="en-AU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0E31F9-663D-63EE-09A6-C2B0EF3BCE2F}"/>
              </a:ext>
            </a:extLst>
          </p:cNvPr>
          <p:cNvSpPr txBox="1"/>
          <p:nvPr/>
        </p:nvSpPr>
        <p:spPr>
          <a:xfrm>
            <a:off x="5212739" y="4101145"/>
            <a:ext cx="18573132" cy="1940957"/>
          </a:xfrm>
          <a:prstGeom prst="round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b="1" dirty="0"/>
              <a:t>   </a:t>
            </a:r>
          </a:p>
          <a:p>
            <a:pPr algn="ctr"/>
            <a:r>
              <a:rPr lang="en-AU" b="1" dirty="0">
                <a:solidFill>
                  <a:schemeClr val="bg1"/>
                </a:solidFill>
              </a:rPr>
              <a:t> </a:t>
            </a:r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ullying and harassment disproportionately affect </a:t>
            </a:r>
            <a:r>
              <a:rPr lang="en-AU" sz="3600" b="1" kern="1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se groups</a:t>
            </a:r>
            <a:endParaRPr lang="en-AU" sz="3600" b="1" kern="100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AU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AA272A8-1685-327D-3B02-4567F33412C1}"/>
              </a:ext>
            </a:extLst>
          </p:cNvPr>
          <p:cNvSpPr txBox="1"/>
          <p:nvPr/>
        </p:nvSpPr>
        <p:spPr>
          <a:xfrm>
            <a:off x="5212739" y="6629471"/>
            <a:ext cx="18602003" cy="2553891"/>
          </a:xfrm>
          <a:prstGeom prst="round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endParaRPr lang="en-AU" sz="3600" b="1" kern="1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sitive impact of Diversity</a:t>
            </a: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entry of diverse perspectives in parliament challenges toxic culture</a:t>
            </a:r>
          </a:p>
          <a:p>
            <a:pPr algn="ctr"/>
            <a:endParaRPr lang="en-AU" sz="3600" b="1" kern="100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5A2A6D-2ACE-6635-0A82-BC3F4DF56019}"/>
              </a:ext>
            </a:extLst>
          </p:cNvPr>
          <p:cNvSpPr txBox="1"/>
          <p:nvPr/>
        </p:nvSpPr>
        <p:spPr>
          <a:xfrm>
            <a:off x="5236806" y="9597618"/>
            <a:ext cx="18577935" cy="3779758"/>
          </a:xfrm>
          <a:prstGeom prst="round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b="1" dirty="0">
                <a:solidFill>
                  <a:schemeClr val="bg1"/>
                </a:solidFill>
              </a:rPr>
              <a:t>  </a:t>
            </a:r>
          </a:p>
          <a:p>
            <a:pPr algn="ctr"/>
            <a:r>
              <a:rPr lang="en-AU" b="1" dirty="0">
                <a:solidFill>
                  <a:schemeClr val="bg1"/>
                </a:solidFill>
              </a:rPr>
              <a:t> </a:t>
            </a:r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 risk-based approach </a:t>
            </a: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 governance structures tracking </a:t>
            </a:r>
          </a:p>
          <a:p>
            <a:pPr algn="ctr"/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periences of diverse people </a:t>
            </a:r>
          </a:p>
          <a:p>
            <a:pPr algn="ctr"/>
            <a:r>
              <a:rPr lang="en-AU" b="1" kern="1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o support</a:t>
            </a:r>
            <a:r>
              <a:rPr lang="en-AU" sz="3600" b="1" kern="100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lasting cultural change</a:t>
            </a:r>
          </a:p>
          <a:p>
            <a:endParaRPr lang="en-A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574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8AC7CB-A004-E008-B30F-A8E2E1B610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8AC7CB-A004-E008-B30F-A8E2E1B61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2EE5A2-180C-B553-ACE4-C35E72CBA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34742" y="12875439"/>
            <a:ext cx="1080000" cy="276999"/>
          </a:xfrm>
        </p:spPr>
        <p:txBody>
          <a:bodyPr/>
          <a:lstStyle/>
          <a:p>
            <a:fld id="{815284B0-4440-5F47-BDFA-4CDBE72ED863}" type="slidenum">
              <a:rPr lang="en-AU" smtClean="0"/>
              <a:pPr/>
              <a:t>5</a:t>
            </a:fld>
            <a:endParaRPr lang="en-AU" dirty="0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5CF1F58F-667D-3A15-4534-9067D6911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207" y="3010830"/>
            <a:ext cx="4121999" cy="2034032"/>
          </a:xfrm>
        </p:spPr>
        <p:txBody>
          <a:bodyPr/>
          <a:lstStyle/>
          <a:p>
            <a:pPr marL="0" lvl="0" indent="0">
              <a:buFont typeface="+mj-lt"/>
              <a:buNone/>
            </a:pPr>
            <a:r>
              <a:rPr lang="en-AU" sz="4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 Broderick Review</a:t>
            </a:r>
            <a:endParaRPr lang="en-AU" sz="4400" b="1" dirty="0">
              <a:effectLst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F50CB61-E68C-227B-0952-08B6A93BDB48}"/>
              </a:ext>
            </a:extLst>
          </p:cNvPr>
          <p:cNvSpPr txBox="1">
            <a:spLocks/>
          </p:cNvSpPr>
          <p:nvPr/>
        </p:nvSpPr>
        <p:spPr>
          <a:xfrm>
            <a:off x="22734742" y="12875439"/>
            <a:ext cx="10800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1828709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284B0-4440-5F47-BDFA-4CDBE72ED863}" type="slidenum">
              <a:rPr lang="en-AU" smtClean="0"/>
              <a:pPr/>
              <a:t>5</a:t>
            </a:fld>
            <a:endParaRPr lang="en-A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E0740C-CC09-B413-6D19-A6CAD0F5008E}"/>
              </a:ext>
            </a:extLst>
          </p:cNvPr>
          <p:cNvSpPr/>
          <p:nvPr/>
        </p:nvSpPr>
        <p:spPr>
          <a:xfrm>
            <a:off x="4693206" y="0"/>
            <a:ext cx="19689207" cy="1371600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A33259AC-6AC2-AA7E-CD90-FFA3486BC5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3920741"/>
              </p:ext>
            </p:extLst>
          </p:nvPr>
        </p:nvGraphicFramePr>
        <p:xfrm>
          <a:off x="6479800" y="1721467"/>
          <a:ext cx="16254942" cy="108366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802368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3567A68-03D2-0CEA-0418-6D6A7B444D3D}"/>
              </a:ext>
            </a:extLst>
          </p:cNvPr>
          <p:cNvSpPr/>
          <p:nvPr/>
        </p:nvSpPr>
        <p:spPr>
          <a:xfrm>
            <a:off x="4693204" y="0"/>
            <a:ext cx="19689209" cy="13716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8AC7CB-A004-E008-B30F-A8E2E1B610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8AC7CB-A004-E008-B30F-A8E2E1B61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2EE5A2-180C-B553-ACE4-C35E72CBA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34742" y="12875439"/>
            <a:ext cx="1080000" cy="276999"/>
          </a:xfrm>
        </p:spPr>
        <p:txBody>
          <a:bodyPr/>
          <a:lstStyle/>
          <a:p>
            <a:fld id="{815284B0-4440-5F47-BDFA-4CDBE72ED863}" type="slidenum">
              <a:rPr lang="en-AU" smtClean="0"/>
              <a:pPr/>
              <a:t>6</a:t>
            </a:fld>
            <a:endParaRPr lang="en-AU" dirty="0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5CF1F58F-667D-3A15-4534-9067D6911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332" y="3256157"/>
            <a:ext cx="4121999" cy="2943922"/>
          </a:xfrm>
        </p:spPr>
        <p:txBody>
          <a:bodyPr/>
          <a:lstStyle/>
          <a:p>
            <a:pPr marL="0" lvl="0" indent="0">
              <a:buFont typeface="+mj-lt"/>
              <a:buNone/>
            </a:pPr>
            <a:r>
              <a:rPr lang="en-AU" sz="4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uman Related Risk and Governance</a:t>
            </a:r>
            <a:br>
              <a:rPr lang="en-AU" sz="4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AU" sz="4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AU" sz="4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AU" sz="4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nhancing Inclusivity and Mitigating Risk</a:t>
            </a:r>
            <a:endParaRPr lang="en-AU" sz="4400" b="1" dirty="0">
              <a:effectLst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F50CB61-E68C-227B-0952-08B6A93BDB48}"/>
              </a:ext>
            </a:extLst>
          </p:cNvPr>
          <p:cNvSpPr txBox="1">
            <a:spLocks/>
          </p:cNvSpPr>
          <p:nvPr/>
        </p:nvSpPr>
        <p:spPr>
          <a:xfrm>
            <a:off x="22734742" y="12875439"/>
            <a:ext cx="10800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1828709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284B0-4440-5F47-BDFA-4CDBE72ED863}" type="slidenum">
              <a:rPr lang="en-AU" smtClean="0"/>
              <a:pPr/>
              <a:t>6</a:t>
            </a:fld>
            <a:endParaRPr lang="en-AU" dirty="0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7270B39F-84CB-D105-9480-501A0364DF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3551531"/>
              </p:ext>
            </p:extLst>
          </p:nvPr>
        </p:nvGraphicFramePr>
        <p:xfrm>
          <a:off x="6479800" y="1681972"/>
          <a:ext cx="16254942" cy="108366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382022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878C4AFE-F517-C811-79CD-56FA13E1007F}"/>
              </a:ext>
            </a:extLst>
          </p:cNvPr>
          <p:cNvSpPr/>
          <p:nvPr/>
        </p:nvSpPr>
        <p:spPr>
          <a:xfrm>
            <a:off x="4693204" y="0"/>
            <a:ext cx="19689209" cy="137160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8AC7CB-A004-E008-B30F-A8E2E1B610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8AC7CB-A004-E008-B30F-A8E2E1B61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2EE5A2-180C-B553-ACE4-C35E72CBA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34742" y="12875439"/>
            <a:ext cx="1080000" cy="276999"/>
          </a:xfrm>
        </p:spPr>
        <p:txBody>
          <a:bodyPr/>
          <a:lstStyle/>
          <a:p>
            <a:fld id="{815284B0-4440-5F47-BDFA-4CDBE72ED863}" type="slidenum">
              <a:rPr lang="en-AU" smtClean="0"/>
              <a:pPr/>
              <a:t>7</a:t>
            </a:fld>
            <a:endParaRPr lang="en-AU" dirty="0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FBFB36B1-69A0-A0C8-31B2-5FA7C7CB36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207" y="3010830"/>
            <a:ext cx="4121999" cy="2034032"/>
          </a:xfrm>
        </p:spPr>
        <p:txBody>
          <a:bodyPr/>
          <a:lstStyle/>
          <a:p>
            <a:r>
              <a:rPr lang="en-AU" sz="44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ong-Term </a:t>
            </a:r>
            <a:br>
              <a:rPr lang="en-AU" sz="44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AU" sz="44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sitive Chang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F50CB61-E68C-227B-0952-08B6A93BDB48}"/>
              </a:ext>
            </a:extLst>
          </p:cNvPr>
          <p:cNvSpPr txBox="1">
            <a:spLocks/>
          </p:cNvSpPr>
          <p:nvPr/>
        </p:nvSpPr>
        <p:spPr>
          <a:xfrm>
            <a:off x="22734742" y="12875439"/>
            <a:ext cx="10800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1828709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1435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algn="l" defTabSz="18287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5284B0-4440-5F47-BDFA-4CDBE72ED863}" type="slidenum">
              <a:rPr lang="en-AU" smtClean="0"/>
              <a:pPr/>
              <a:t>7</a:t>
            </a:fld>
            <a:endParaRPr lang="en-AU" dirty="0"/>
          </a:p>
        </p:txBody>
      </p:sp>
      <p:pic>
        <p:nvPicPr>
          <p:cNvPr id="4" name="Picture 3" descr="A 3D rendering of the infinity symbol">
            <a:extLst>
              <a:ext uri="{FF2B5EF4-FFF2-40B4-BE49-F238E27FC236}">
                <a16:creationId xmlns:a16="http://schemas.microsoft.com/office/drawing/2014/main" id="{F035476A-4C02-E7DD-92F9-8D3B7D7E7C8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745191" y="892430"/>
            <a:ext cx="18066015" cy="11931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22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NSW May 2023 dark">
  <a:themeElements>
    <a:clrScheme name="Custom 448">
      <a:dk1>
        <a:srgbClr val="000000"/>
      </a:dk1>
      <a:lt1>
        <a:srgbClr val="FFFFFF"/>
      </a:lt1>
      <a:dk2>
        <a:srgbClr val="000000"/>
      </a:dk2>
      <a:lt2>
        <a:srgbClr val="E8E2DF"/>
      </a:lt2>
      <a:accent1>
        <a:srgbClr val="1D1F64"/>
      </a:accent1>
      <a:accent2>
        <a:srgbClr val="9FB8D7"/>
      </a:accent2>
      <a:accent3>
        <a:srgbClr val="F7A193"/>
      </a:accent3>
      <a:accent4>
        <a:srgbClr val="F15D46"/>
      </a:accent4>
      <a:accent5>
        <a:srgbClr val="F1E5D1"/>
      </a:accent5>
      <a:accent6>
        <a:srgbClr val="D9BA8B"/>
      </a:accent6>
      <a:hlink>
        <a:srgbClr val="000000"/>
      </a:hlink>
      <a:folHlink>
        <a:srgbClr val="000000"/>
      </a:folHlink>
    </a:clrScheme>
    <a:fontScheme name="Custom 62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PS template May 2023_FOR UPLOADING" id="{9A5ED96B-E995-43A2-B5AF-98CA49DAFA4A}" vid="{B0CB9B59-5594-42F9-85BA-660259B3D5AA}"/>
    </a:ext>
  </a:extLst>
</a:theme>
</file>

<file path=ppt/theme/theme2.xml><?xml version="1.0" encoding="utf-8"?>
<a:theme xmlns:a="http://schemas.openxmlformats.org/drawingml/2006/main" name="1_PNSW May 2023 dark">
  <a:themeElements>
    <a:clrScheme name="Custom 448">
      <a:dk1>
        <a:srgbClr val="000000"/>
      </a:dk1>
      <a:lt1>
        <a:srgbClr val="FFFFFF"/>
      </a:lt1>
      <a:dk2>
        <a:srgbClr val="000000"/>
      </a:dk2>
      <a:lt2>
        <a:srgbClr val="E8E2DF"/>
      </a:lt2>
      <a:accent1>
        <a:srgbClr val="1D1F64"/>
      </a:accent1>
      <a:accent2>
        <a:srgbClr val="9FB8D7"/>
      </a:accent2>
      <a:accent3>
        <a:srgbClr val="F7A193"/>
      </a:accent3>
      <a:accent4>
        <a:srgbClr val="F15D46"/>
      </a:accent4>
      <a:accent5>
        <a:srgbClr val="F1E5D1"/>
      </a:accent5>
      <a:accent6>
        <a:srgbClr val="D9BA8B"/>
      </a:accent6>
      <a:hlink>
        <a:srgbClr val="000000"/>
      </a:hlink>
      <a:folHlink>
        <a:srgbClr val="000000"/>
      </a:folHlink>
    </a:clrScheme>
    <a:fontScheme name="Custom 62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PS Powerpoint_Template_Arial" id="{F4808E73-E69F-D541-AC87-78156C597C2F}" vid="{96CA2C11-D53A-724E-9C09-E7089426D560}"/>
    </a:ext>
  </a:extLst>
</a:theme>
</file>

<file path=ppt/theme/theme3.xml><?xml version="1.0" encoding="utf-8"?>
<a:theme xmlns:a="http://schemas.openxmlformats.org/drawingml/2006/main" name="1_PNSW May 2023 Light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E8E2DF"/>
      </a:lt2>
      <a:accent1>
        <a:srgbClr val="20356C"/>
      </a:accent1>
      <a:accent2>
        <a:srgbClr val="9FB8D7"/>
      </a:accent2>
      <a:accent3>
        <a:srgbClr val="F7A193"/>
      </a:accent3>
      <a:accent4>
        <a:srgbClr val="F15D46"/>
      </a:accent4>
      <a:accent5>
        <a:srgbClr val="F1E5D1"/>
      </a:accent5>
      <a:accent6>
        <a:srgbClr val="D9BA8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PS Powerpoint_Template_Arial" id="{F4808E73-E69F-D541-AC87-78156C597C2F}" vid="{0301526B-8DB7-9346-A73F-CC336AAD92A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E358F8024868409308F1837521586B" ma:contentTypeVersion="13" ma:contentTypeDescription="Create a new document." ma:contentTypeScope="" ma:versionID="45bcf04d20d1cf1c462dfbfec49d853b">
  <xsd:schema xmlns:xsd="http://www.w3.org/2001/XMLSchema" xmlns:xs="http://www.w3.org/2001/XMLSchema" xmlns:p="http://schemas.microsoft.com/office/2006/metadata/properties" xmlns:ns2="63d2b91f-a03e-4d5b-badb-e7b6e0162eea" xmlns:ns3="b1860625-b092-4f12-aa6a-aeefe29a407d" targetNamespace="http://schemas.microsoft.com/office/2006/metadata/properties" ma:root="true" ma:fieldsID="89515de823c418fbcedf8f2b19247dbe" ns2:_="" ns3:_="">
    <xsd:import namespace="63d2b91f-a03e-4d5b-badb-e7b6e0162eea"/>
    <xsd:import namespace="b1860625-b092-4f12-aa6a-aeefe29a40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_dlc_DocId" minOccurs="0"/>
                <xsd:element ref="ns3:_dlc_DocIdUrl" minOccurs="0"/>
                <xsd:element ref="ns3:_dlc_DocIdPersistId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d2b91f-a03e-4d5b-badb-e7b6e0162e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44c8df9e-14f5-4b9a-9553-705b710dccc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860625-b092-4f12-aa6a-aeefe29a407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96600e4-24da-4a9e-ac24-4d19f791b9c6}" ma:internalName="TaxCatchAll" ma:showField="CatchAllData" ma:web="b1860625-b092-4f12-aa6a-aeefe29a40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16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8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3d2b91f-a03e-4d5b-badb-e7b6e0162eea">
      <Terms xmlns="http://schemas.microsoft.com/office/infopath/2007/PartnerControls"/>
    </lcf76f155ced4ddcb4097134ff3c332f>
    <TaxCatchAll xmlns="b1860625-b092-4f12-aa6a-aeefe29a407d" xsi:nil="true"/>
    <_dlc_DocId xmlns="b1860625-b092-4f12-aa6a-aeefe29a407d">PECEHSH4UFVT-386716116-640</_dlc_DocId>
    <_dlc_DocIdUrl xmlns="b1860625-b092-4f12-aa6a-aeefe29a407d">
      <Url>https://parlnsw.sharepoint.com/sites/CIE/_layouts/15/DocIdRedir.aspx?ID=PECEHSH4UFVT-386716116-640</Url>
      <Description>PECEHSH4UFVT-386716116-640</Description>
    </_dlc_DocIdUrl>
  </documentManagement>
</p:properties>
</file>

<file path=customXml/itemProps1.xml><?xml version="1.0" encoding="utf-8"?>
<ds:datastoreItem xmlns:ds="http://schemas.openxmlformats.org/officeDocument/2006/customXml" ds:itemID="{9E03E0C7-8A5B-4C52-B386-7113307FBF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d2b91f-a03e-4d5b-badb-e7b6e0162eea"/>
    <ds:schemaRef ds:uri="b1860625-b092-4f12-aa6a-aeefe29a40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4C921C3-1296-4E69-B5D6-57A1E2FE6E3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421EDB-EFBA-47EB-8AAA-067183187775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A150A966-4A70-40D2-840A-54921C1CFBB8}">
  <ds:schemaRefs>
    <ds:schemaRef ds:uri="http://schemas.microsoft.com/office/2006/documentManagement/types"/>
    <ds:schemaRef ds:uri="http://purl.org/dc/elements/1.1/"/>
    <ds:schemaRef ds:uri="81b2a424-99d8-4502-b103-396ce4223c8a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dcmitype/"/>
    <ds:schemaRef ds:uri="63d2b91f-a03e-4d5b-badb-e7b6e0162eea"/>
    <ds:schemaRef ds:uri="b1860625-b092-4f12-aa6a-aeefe29a407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PS Powerpoint template_May 2023 (7)</Template>
  <TotalTime>1929</TotalTime>
  <Words>198</Words>
  <Application>Microsoft Office PowerPoint</Application>
  <PresentationFormat>Custom</PresentationFormat>
  <Paragraphs>56</Paragraphs>
  <Slides>7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PNSW May 2023 dark</vt:lpstr>
      <vt:lpstr>1_PNSW May 2023 dark</vt:lpstr>
      <vt:lpstr>1_PNSW May 2023 Light</vt:lpstr>
      <vt:lpstr>Office Theme</vt:lpstr>
      <vt:lpstr>PowerPoint Presentation</vt:lpstr>
      <vt:lpstr>Governance  and Sustained Cultural  change  in parliaments </vt:lpstr>
      <vt:lpstr>CULTURAL CHANGE</vt:lpstr>
      <vt:lpstr>Impact of Diversity in Transforming Parliamentary Culture </vt:lpstr>
      <vt:lpstr>The Broderick Review</vt:lpstr>
      <vt:lpstr>Human Related Risk and Governance   Enhancing Inclusivity and Mitigating Risk</vt:lpstr>
      <vt:lpstr>Long-Term  Positive Chan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ON 1 – PRESENTATION TITLE</dc:title>
  <dc:creator>Juliet Burston</dc:creator>
  <cp:lastModifiedBy>Bruce Pope</cp:lastModifiedBy>
  <cp:revision>24</cp:revision>
  <cp:lastPrinted>2023-11-27T22:28:50Z</cp:lastPrinted>
  <dcterms:created xsi:type="dcterms:W3CDTF">2023-11-24T23:45:59Z</dcterms:created>
  <dcterms:modified xsi:type="dcterms:W3CDTF">2024-10-03T04:5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E358F8024868409308F1837521586B</vt:lpwstr>
  </property>
  <property fmtid="{D5CDD505-2E9C-101B-9397-08002B2CF9AE}" pid="3" name="_dlc_DocIdItemGuid">
    <vt:lpwstr>f6152a81-84f6-417b-8827-a33f7e34b8c3</vt:lpwstr>
  </property>
</Properties>
</file>